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4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5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898" r:id="rId4"/>
    <p:sldMasterId id="2147483968" r:id="rId5"/>
    <p:sldMasterId id="2147484028" r:id="rId6"/>
    <p:sldMasterId id="2147484088" r:id="rId7"/>
    <p:sldMasterId id="2147484100" r:id="rId8"/>
    <p:sldMasterId id="2147484114" r:id="rId9"/>
  </p:sldMasterIdLst>
  <p:notesMasterIdLst>
    <p:notesMasterId r:id="rId17"/>
  </p:notesMasterIdLst>
  <p:handoutMasterIdLst>
    <p:handoutMasterId r:id="rId18"/>
  </p:handoutMasterIdLst>
  <p:sldIdLst>
    <p:sldId id="1428" r:id="rId10"/>
    <p:sldId id="1477" r:id="rId11"/>
    <p:sldId id="1529" r:id="rId12"/>
    <p:sldId id="1530" r:id="rId13"/>
    <p:sldId id="1553" r:id="rId14"/>
    <p:sldId id="1555" r:id="rId15"/>
    <p:sldId id="1554" r:id="rId16"/>
  </p:sldIdLst>
  <p:sldSz cx="12192000" cy="6858000"/>
  <p:notesSz cx="6799263" cy="9929813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CB37B690-395A-42F9-83A5-40F8AA5DEDE2}">
          <p14:sldIdLst>
            <p14:sldId id="1428"/>
            <p14:sldId id="1477"/>
            <p14:sldId id="1529"/>
            <p14:sldId id="1530"/>
            <p14:sldId id="1553"/>
            <p14:sldId id="1555"/>
            <p14:sldId id="15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984" userDrawn="1">
          <p15:clr>
            <a:srgbClr val="A4A3A4"/>
          </p15:clr>
        </p15:guide>
        <p15:guide id="3" orient="horz" pos="1094" userDrawn="1">
          <p15:clr>
            <a:srgbClr val="A4A3A4"/>
          </p15:clr>
        </p15:guide>
        <p15:guide id="4" pos="3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9A7"/>
    <a:srgbClr val="4083BD"/>
    <a:srgbClr val="979797"/>
    <a:srgbClr val="D9D9D9"/>
    <a:srgbClr val="99CDE0"/>
    <a:srgbClr val="00CAC5"/>
    <a:srgbClr val="DDDDDD"/>
    <a:srgbClr val="B2B2B2"/>
    <a:srgbClr val="FFF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B39A07-94B5-443D-9E22-697555BE80EB}" v="330" dt="2023-06-06T15:35:24.9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01" autoAdjust="0"/>
    <p:restoredTop sz="95475" autoAdjust="0"/>
  </p:normalViewPr>
  <p:slideViewPr>
    <p:cSldViewPr snapToObjects="1">
      <p:cViewPr varScale="1">
        <p:scale>
          <a:sx n="86" d="100"/>
          <a:sy n="86" d="100"/>
        </p:scale>
        <p:origin x="926" y="48"/>
      </p:cViewPr>
      <p:guideLst>
        <p:guide orient="horz" pos="1570"/>
        <p:guide pos="3984"/>
        <p:guide orient="horz" pos="1094"/>
        <p:guide pos="33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92"/>
    </p:cViewPr>
  </p:sorterViewPr>
  <p:notesViewPr>
    <p:cSldViewPr snapToObjects="1">
      <p:cViewPr varScale="1">
        <p:scale>
          <a:sx n="43" d="100"/>
          <a:sy n="43" d="100"/>
        </p:scale>
        <p:origin x="2772" y="64"/>
      </p:cViewPr>
      <p:guideLst>
        <p:guide orient="horz" pos="3128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image" Target="../media/image13.svg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" Type="http://schemas.openxmlformats.org/officeDocument/2006/relationships/image" Target="../media/image13.svg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4" Type="http://schemas.openxmlformats.org/officeDocument/2006/relationships/image" Target="../media/image15.svg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59ADCC-4CEB-4406-BDA4-2928D983C975}" type="doc">
      <dgm:prSet loTypeId="urn:microsoft.com/office/officeart/2008/layout/PictureStrips" loCatId="picture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u-ES"/>
        </a:p>
      </dgm:t>
    </dgm:pt>
    <dgm:pt modelId="{9C4E05ED-9EF9-4070-8AA7-3723521CD16F}">
      <dgm:prSet phldrT="[Texto]"/>
      <dgm:spPr/>
      <dgm:t>
        <a:bodyPr/>
        <a:lstStyle/>
        <a:p>
          <a:r>
            <a:rPr lang="es-ES" noProof="0" dirty="0"/>
            <a:t>1. Organización</a:t>
          </a:r>
        </a:p>
      </dgm:t>
    </dgm:pt>
    <dgm:pt modelId="{E5BFCE87-9A84-46B3-82B1-1F4851DA6ADD}" type="parTrans" cxnId="{53AFF219-5A31-46B3-A6C4-5BD7AFB8C785}">
      <dgm:prSet/>
      <dgm:spPr/>
      <dgm:t>
        <a:bodyPr/>
        <a:lstStyle/>
        <a:p>
          <a:endParaRPr lang="eu-ES"/>
        </a:p>
      </dgm:t>
    </dgm:pt>
    <dgm:pt modelId="{DA3E54C4-E802-4D98-9A1E-9FE5813FE3D8}" type="sibTrans" cxnId="{53AFF219-5A31-46B3-A6C4-5BD7AFB8C785}">
      <dgm:prSet/>
      <dgm:spPr/>
      <dgm:t>
        <a:bodyPr/>
        <a:lstStyle/>
        <a:p>
          <a:endParaRPr lang="eu-ES"/>
        </a:p>
      </dgm:t>
    </dgm:pt>
    <dgm:pt modelId="{37230349-8E22-494C-BD3A-4A65AB8BFA8A}">
      <dgm:prSet phldrT="[Texto]"/>
      <dgm:spPr/>
      <dgm:t>
        <a:bodyPr/>
        <a:lstStyle/>
        <a:p>
          <a:r>
            <a:rPr lang="es-ES" noProof="0" dirty="0"/>
            <a:t>3. Regularización normativa</a:t>
          </a:r>
        </a:p>
      </dgm:t>
    </dgm:pt>
    <dgm:pt modelId="{6EEED2AC-7847-4EC2-8473-4867F74D2269}" type="parTrans" cxnId="{2A0A010A-4960-4D38-8120-7D9F4534EA41}">
      <dgm:prSet/>
      <dgm:spPr/>
      <dgm:t>
        <a:bodyPr/>
        <a:lstStyle/>
        <a:p>
          <a:endParaRPr lang="eu-ES"/>
        </a:p>
      </dgm:t>
    </dgm:pt>
    <dgm:pt modelId="{EB5070D2-1F11-4D2B-AACA-8D969818D215}" type="sibTrans" cxnId="{2A0A010A-4960-4D38-8120-7D9F4534EA41}">
      <dgm:prSet/>
      <dgm:spPr/>
      <dgm:t>
        <a:bodyPr/>
        <a:lstStyle/>
        <a:p>
          <a:endParaRPr lang="eu-ES"/>
        </a:p>
      </dgm:t>
    </dgm:pt>
    <dgm:pt modelId="{83F7ADEA-FB60-4033-BB52-9EE02F8B09D6}">
      <dgm:prSet phldrT="[Texto]"/>
      <dgm:spPr/>
      <dgm:t>
        <a:bodyPr/>
        <a:lstStyle/>
        <a:p>
          <a:r>
            <a:rPr lang="es-ES" noProof="0" dirty="0"/>
            <a:t>4. Modernización</a:t>
          </a:r>
        </a:p>
      </dgm:t>
    </dgm:pt>
    <dgm:pt modelId="{4101A177-7307-4D6D-BF37-FD169B44C897}" type="parTrans" cxnId="{A0481697-4FA2-46E9-8691-4BC2CC2AFC1F}">
      <dgm:prSet/>
      <dgm:spPr/>
      <dgm:t>
        <a:bodyPr/>
        <a:lstStyle/>
        <a:p>
          <a:endParaRPr lang="eu-ES"/>
        </a:p>
      </dgm:t>
    </dgm:pt>
    <dgm:pt modelId="{43FC5548-B2A4-40BA-9EEC-77205E55F3D7}" type="sibTrans" cxnId="{A0481697-4FA2-46E9-8691-4BC2CC2AFC1F}">
      <dgm:prSet/>
      <dgm:spPr/>
      <dgm:t>
        <a:bodyPr/>
        <a:lstStyle/>
        <a:p>
          <a:endParaRPr lang="eu-ES"/>
        </a:p>
      </dgm:t>
    </dgm:pt>
    <dgm:pt modelId="{EC2B6A3E-9EE5-4672-A759-1D282C7AB93E}">
      <dgm:prSet phldrT="[Texto]"/>
      <dgm:spPr/>
      <dgm:t>
        <a:bodyPr/>
        <a:lstStyle/>
        <a:p>
          <a:r>
            <a:rPr lang="es-ES" noProof="0" dirty="0"/>
            <a:t>5. Comunicación e imagen</a:t>
          </a:r>
        </a:p>
      </dgm:t>
    </dgm:pt>
    <dgm:pt modelId="{BE39F547-8BA8-4512-AB19-F8EB0FA7295A}" type="parTrans" cxnId="{B8C4BA54-A79A-423E-BEF0-11C67CAFA04B}">
      <dgm:prSet/>
      <dgm:spPr/>
      <dgm:t>
        <a:bodyPr/>
        <a:lstStyle/>
        <a:p>
          <a:endParaRPr lang="eu-ES"/>
        </a:p>
      </dgm:t>
    </dgm:pt>
    <dgm:pt modelId="{5B7CFAD2-9CF6-44AC-94C6-2ADF2F9D5B13}" type="sibTrans" cxnId="{B8C4BA54-A79A-423E-BEF0-11C67CAFA04B}">
      <dgm:prSet/>
      <dgm:spPr/>
      <dgm:t>
        <a:bodyPr/>
        <a:lstStyle/>
        <a:p>
          <a:endParaRPr lang="eu-ES"/>
        </a:p>
      </dgm:t>
    </dgm:pt>
    <dgm:pt modelId="{5D692D26-A9D4-49D0-B905-B742F36320AB}">
      <dgm:prSet phldrT="[Texto]"/>
      <dgm:spPr/>
      <dgm:t>
        <a:bodyPr/>
        <a:lstStyle/>
        <a:p>
          <a:r>
            <a:rPr lang="es-ES" noProof="0" dirty="0"/>
            <a:t>6.</a:t>
          </a:r>
          <a:r>
            <a:rPr lang="es-ES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RSC</a:t>
          </a:r>
          <a:r>
            <a:rPr lang="es-ES" noProof="0" dirty="0"/>
            <a:t> </a:t>
          </a:r>
        </a:p>
      </dgm:t>
    </dgm:pt>
    <dgm:pt modelId="{D8B40268-2060-4745-B924-33496C2FD1C1}" type="parTrans" cxnId="{272F3CE3-936C-4284-981B-35534AB0574E}">
      <dgm:prSet/>
      <dgm:spPr/>
      <dgm:t>
        <a:bodyPr/>
        <a:lstStyle/>
        <a:p>
          <a:endParaRPr lang="eu-ES"/>
        </a:p>
      </dgm:t>
    </dgm:pt>
    <dgm:pt modelId="{F0D9FC62-6C76-4AD9-95D7-031F00FEA8E3}" type="sibTrans" cxnId="{272F3CE3-936C-4284-981B-35534AB0574E}">
      <dgm:prSet/>
      <dgm:spPr/>
      <dgm:t>
        <a:bodyPr/>
        <a:lstStyle/>
        <a:p>
          <a:endParaRPr lang="eu-ES"/>
        </a:p>
      </dgm:t>
    </dgm:pt>
    <dgm:pt modelId="{DBE7922E-39C2-4B75-950B-4AF88B727E32}">
      <dgm:prSet phldrT="[Texto]"/>
      <dgm:spPr/>
      <dgm:t>
        <a:bodyPr/>
        <a:lstStyle/>
        <a:p>
          <a:r>
            <a:rPr lang="es-ES" noProof="0" dirty="0"/>
            <a:t>7. Accesibilidad</a:t>
          </a:r>
        </a:p>
      </dgm:t>
    </dgm:pt>
    <dgm:pt modelId="{479C8662-1524-4C20-93F1-AA0188831798}" type="parTrans" cxnId="{BC487C34-884B-4F5D-8B72-368E183F399A}">
      <dgm:prSet/>
      <dgm:spPr/>
      <dgm:t>
        <a:bodyPr/>
        <a:lstStyle/>
        <a:p>
          <a:endParaRPr lang="eu-ES"/>
        </a:p>
      </dgm:t>
    </dgm:pt>
    <dgm:pt modelId="{202FDF11-079F-4A1C-ABE9-A0F38223562D}" type="sibTrans" cxnId="{BC487C34-884B-4F5D-8B72-368E183F399A}">
      <dgm:prSet/>
      <dgm:spPr/>
      <dgm:t>
        <a:bodyPr/>
        <a:lstStyle/>
        <a:p>
          <a:endParaRPr lang="eu-ES"/>
        </a:p>
      </dgm:t>
    </dgm:pt>
    <dgm:pt modelId="{CCD2D406-45C6-474A-BD3F-20034B86CB57}">
      <dgm:prSet phldrT="[Texto]"/>
      <dgm:spPr/>
      <dgm:t>
        <a:bodyPr/>
        <a:lstStyle/>
        <a:p>
          <a:r>
            <a:rPr lang="es-ES" noProof="0" dirty="0"/>
            <a:t>8.Medioambiente</a:t>
          </a:r>
        </a:p>
      </dgm:t>
    </dgm:pt>
    <dgm:pt modelId="{84BA380C-2C95-44A3-8C75-A768A82DD12C}" type="parTrans" cxnId="{49C9D286-42ED-4623-B1A2-B42F27E5BBF4}">
      <dgm:prSet/>
      <dgm:spPr/>
      <dgm:t>
        <a:bodyPr/>
        <a:lstStyle/>
        <a:p>
          <a:endParaRPr lang="eu-ES"/>
        </a:p>
      </dgm:t>
    </dgm:pt>
    <dgm:pt modelId="{2F8CE48B-8D31-4A85-9477-16B3592718D2}" type="sibTrans" cxnId="{49C9D286-42ED-4623-B1A2-B42F27E5BBF4}">
      <dgm:prSet/>
      <dgm:spPr/>
      <dgm:t>
        <a:bodyPr/>
        <a:lstStyle/>
        <a:p>
          <a:endParaRPr lang="eu-ES"/>
        </a:p>
      </dgm:t>
    </dgm:pt>
    <dgm:pt modelId="{004DC3F2-D108-4ECA-BA4E-3896DD18ADAC}">
      <dgm:prSet phldrT="[Texto]"/>
      <dgm:spPr/>
      <dgm:t>
        <a:bodyPr/>
        <a:lstStyle/>
        <a:p>
          <a:r>
            <a:rPr lang="es-ES" noProof="0" dirty="0"/>
            <a:t>9. Seguridad y salud laboral </a:t>
          </a:r>
        </a:p>
      </dgm:t>
    </dgm:pt>
    <dgm:pt modelId="{07A2E806-992E-4835-9CD5-99BACBFDD5C3}" type="parTrans" cxnId="{48C22CBB-2D62-4439-A1F1-32C26EB58CB2}">
      <dgm:prSet/>
      <dgm:spPr/>
      <dgm:t>
        <a:bodyPr/>
        <a:lstStyle/>
        <a:p>
          <a:endParaRPr lang="eu-ES"/>
        </a:p>
      </dgm:t>
    </dgm:pt>
    <dgm:pt modelId="{1842CD61-B9EF-4F41-9471-CE2C8076BDE3}" type="sibTrans" cxnId="{48C22CBB-2D62-4439-A1F1-32C26EB58CB2}">
      <dgm:prSet/>
      <dgm:spPr/>
      <dgm:t>
        <a:bodyPr/>
        <a:lstStyle/>
        <a:p>
          <a:endParaRPr lang="eu-ES"/>
        </a:p>
      </dgm:t>
    </dgm:pt>
    <dgm:pt modelId="{1885AE1A-B1B3-43ED-8A41-D31BFA1CB841}">
      <dgm:prSet phldrT="[Texto]"/>
      <dgm:spPr/>
      <dgm:t>
        <a:bodyPr/>
        <a:lstStyle/>
        <a:p>
          <a:r>
            <a:rPr lang="es-ES" noProof="0" dirty="0"/>
            <a:t>10. Igualdad entre mujeres y hombres</a:t>
          </a:r>
        </a:p>
      </dgm:t>
    </dgm:pt>
    <dgm:pt modelId="{51129ED3-3986-40EA-9786-CC81D5C75A67}" type="parTrans" cxnId="{27E080EE-A36D-4BF6-B35A-2749DD39E559}">
      <dgm:prSet/>
      <dgm:spPr/>
      <dgm:t>
        <a:bodyPr/>
        <a:lstStyle/>
        <a:p>
          <a:endParaRPr lang="eu-ES"/>
        </a:p>
      </dgm:t>
    </dgm:pt>
    <dgm:pt modelId="{08CCAE0D-7941-437A-9906-AD451F0E6262}" type="sibTrans" cxnId="{27E080EE-A36D-4BF6-B35A-2749DD39E559}">
      <dgm:prSet/>
      <dgm:spPr/>
      <dgm:t>
        <a:bodyPr/>
        <a:lstStyle/>
        <a:p>
          <a:endParaRPr lang="eu-ES"/>
        </a:p>
      </dgm:t>
    </dgm:pt>
    <dgm:pt modelId="{30D4CD3A-47EF-4486-BE84-B06C9B825C1B}">
      <dgm:prSet phldrT="[Texto]"/>
      <dgm:spPr/>
      <dgm:t>
        <a:bodyPr/>
        <a:lstStyle/>
        <a:p>
          <a:r>
            <a:rPr lang="es-ES" noProof="0" dirty="0"/>
            <a:t>11. Euskara</a:t>
          </a:r>
        </a:p>
      </dgm:t>
    </dgm:pt>
    <dgm:pt modelId="{B1C0BC58-3F3B-4C59-B8BC-3ED371ACA95D}" type="parTrans" cxnId="{B91CDE25-5A6B-4C33-91E9-77F0389B2B9D}">
      <dgm:prSet/>
      <dgm:spPr/>
      <dgm:t>
        <a:bodyPr/>
        <a:lstStyle/>
        <a:p>
          <a:endParaRPr lang="eu-ES"/>
        </a:p>
      </dgm:t>
    </dgm:pt>
    <dgm:pt modelId="{D18FDB52-B4D6-42C3-A01B-37F483D48270}" type="sibTrans" cxnId="{B91CDE25-5A6B-4C33-91E9-77F0389B2B9D}">
      <dgm:prSet/>
      <dgm:spPr/>
      <dgm:t>
        <a:bodyPr/>
        <a:lstStyle/>
        <a:p>
          <a:endParaRPr lang="eu-ES"/>
        </a:p>
      </dgm:t>
    </dgm:pt>
    <dgm:pt modelId="{6251619C-C07B-407B-839E-9558926EBC3E}">
      <dgm:prSet phldrT="[Texto]"/>
      <dgm:spPr/>
      <dgm:t>
        <a:bodyPr/>
        <a:lstStyle/>
        <a:p>
          <a:r>
            <a:rPr lang="es-ES" noProof="0" dirty="0"/>
            <a:t>2. Nuestros puertos</a:t>
          </a:r>
        </a:p>
      </dgm:t>
    </dgm:pt>
    <dgm:pt modelId="{3BAC2BFA-724A-4554-922C-001BA4984E9E}" type="parTrans" cxnId="{DABD89B8-64E8-4755-8885-4E2D6C02C6F8}">
      <dgm:prSet/>
      <dgm:spPr/>
      <dgm:t>
        <a:bodyPr/>
        <a:lstStyle/>
        <a:p>
          <a:endParaRPr lang="eu-ES"/>
        </a:p>
      </dgm:t>
    </dgm:pt>
    <dgm:pt modelId="{D5012459-2422-4C7A-8A38-9359D6ECD8A8}" type="sibTrans" cxnId="{DABD89B8-64E8-4755-8885-4E2D6C02C6F8}">
      <dgm:prSet/>
      <dgm:spPr/>
      <dgm:t>
        <a:bodyPr/>
        <a:lstStyle/>
        <a:p>
          <a:endParaRPr lang="eu-ES"/>
        </a:p>
      </dgm:t>
    </dgm:pt>
    <dgm:pt modelId="{8BCBFAE1-7DD0-468B-BB54-A103CA5E2BC6}" type="pres">
      <dgm:prSet presAssocID="{A259ADCC-4CEB-4406-BDA4-2928D983C975}" presName="Name0" presStyleCnt="0">
        <dgm:presLayoutVars>
          <dgm:dir/>
          <dgm:resizeHandles val="exact"/>
        </dgm:presLayoutVars>
      </dgm:prSet>
      <dgm:spPr/>
    </dgm:pt>
    <dgm:pt modelId="{A703A244-69C5-4F22-A9B7-F72121801918}" type="pres">
      <dgm:prSet presAssocID="{9C4E05ED-9EF9-4070-8AA7-3723521CD16F}" presName="composite" presStyleCnt="0"/>
      <dgm:spPr/>
    </dgm:pt>
    <dgm:pt modelId="{633B4514-127C-4B1A-99F6-F9A188173E92}" type="pres">
      <dgm:prSet presAssocID="{9C4E05ED-9EF9-4070-8AA7-3723521CD16F}" presName="rect1" presStyleLbl="trAlignAcc1" presStyleIdx="0" presStyleCnt="11">
        <dgm:presLayoutVars>
          <dgm:bulletEnabled val="1"/>
        </dgm:presLayoutVars>
      </dgm:prSet>
      <dgm:spPr/>
    </dgm:pt>
    <dgm:pt modelId="{F585544A-2675-4E93-BE65-D2F311FE64A0}" type="pres">
      <dgm:prSet presAssocID="{9C4E05ED-9EF9-4070-8AA7-3723521CD16F}" presName="rect2" presStyleLbl="fgImgPlace1" presStyleIdx="0" presStyleCnt="1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Templo griego contorno"/>
        </a:ext>
      </dgm:extLst>
    </dgm:pt>
    <dgm:pt modelId="{4E38E579-EF9C-470D-B8DE-2B214D8B5DA1}" type="pres">
      <dgm:prSet presAssocID="{DA3E54C4-E802-4D98-9A1E-9FE5813FE3D8}" presName="sibTrans" presStyleCnt="0"/>
      <dgm:spPr/>
    </dgm:pt>
    <dgm:pt modelId="{2D9EDA36-CDF7-4BEA-B34D-8634F7897860}" type="pres">
      <dgm:prSet presAssocID="{6251619C-C07B-407B-839E-9558926EBC3E}" presName="composite" presStyleCnt="0"/>
      <dgm:spPr/>
    </dgm:pt>
    <dgm:pt modelId="{B319CEDE-7CE9-4149-80CF-EE31DA770752}" type="pres">
      <dgm:prSet presAssocID="{6251619C-C07B-407B-839E-9558926EBC3E}" presName="rect1" presStyleLbl="trAlignAcc1" presStyleIdx="1" presStyleCnt="11">
        <dgm:presLayoutVars>
          <dgm:bulletEnabled val="1"/>
        </dgm:presLayoutVars>
      </dgm:prSet>
      <dgm:spPr/>
    </dgm:pt>
    <dgm:pt modelId="{AAE267CA-CE08-4F05-B51C-6F6734587630}" type="pres">
      <dgm:prSet presAssocID="{6251619C-C07B-407B-839E-9558926EBC3E}" presName="rect2" presStyleLbl="fgImgPlace1" presStyleIdx="1" presStyleCnt="11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Barco de vela con relleno sólido"/>
        </a:ext>
      </dgm:extLst>
    </dgm:pt>
    <dgm:pt modelId="{BCD0AABF-6D2E-4E14-A077-76B8BED658E7}" type="pres">
      <dgm:prSet presAssocID="{D5012459-2422-4C7A-8A38-9359D6ECD8A8}" presName="sibTrans" presStyleCnt="0"/>
      <dgm:spPr/>
    </dgm:pt>
    <dgm:pt modelId="{A662244C-C1F2-4B31-BAB6-1CD28D664B01}" type="pres">
      <dgm:prSet presAssocID="{37230349-8E22-494C-BD3A-4A65AB8BFA8A}" presName="composite" presStyleCnt="0"/>
      <dgm:spPr/>
    </dgm:pt>
    <dgm:pt modelId="{F51701DD-95DA-460E-87BB-9294F48406DD}" type="pres">
      <dgm:prSet presAssocID="{37230349-8E22-494C-BD3A-4A65AB8BFA8A}" presName="rect1" presStyleLbl="trAlignAcc1" presStyleIdx="2" presStyleCnt="11">
        <dgm:presLayoutVars>
          <dgm:bulletEnabled val="1"/>
        </dgm:presLayoutVars>
      </dgm:prSet>
      <dgm:spPr/>
    </dgm:pt>
    <dgm:pt modelId="{F65AACBF-1755-48B3-B218-6EEF88E3F0E4}" type="pres">
      <dgm:prSet presAssocID="{37230349-8E22-494C-BD3A-4A65AB8BFA8A}" presName="rect2" presStyleLbl="fgImgPlace1" presStyleIdx="2" presStyleCnt="11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artillo de juez con relleno sólido"/>
        </a:ext>
      </dgm:extLst>
    </dgm:pt>
    <dgm:pt modelId="{B0F5ABD5-4399-43E5-AAF5-007694685AE9}" type="pres">
      <dgm:prSet presAssocID="{EB5070D2-1F11-4D2B-AACA-8D969818D215}" presName="sibTrans" presStyleCnt="0"/>
      <dgm:spPr/>
    </dgm:pt>
    <dgm:pt modelId="{E0DF04B7-926D-4D45-8D9C-BB10AD4A67FE}" type="pres">
      <dgm:prSet presAssocID="{83F7ADEA-FB60-4033-BB52-9EE02F8B09D6}" presName="composite" presStyleCnt="0"/>
      <dgm:spPr/>
    </dgm:pt>
    <dgm:pt modelId="{865A25D9-9191-4787-9129-1EAEFE4A5E70}" type="pres">
      <dgm:prSet presAssocID="{83F7ADEA-FB60-4033-BB52-9EE02F8B09D6}" presName="rect1" presStyleLbl="trAlignAcc1" presStyleIdx="3" presStyleCnt="11">
        <dgm:presLayoutVars>
          <dgm:bulletEnabled val="1"/>
        </dgm:presLayoutVars>
      </dgm:prSet>
      <dgm:spPr/>
    </dgm:pt>
    <dgm:pt modelId="{8466C3C6-88A7-41AD-99E0-24DD337A97B1}" type="pres">
      <dgm:prSet presAssocID="{83F7ADEA-FB60-4033-BB52-9EE02F8B09D6}" presName="rect2" presStyleLbl="fgImgPlace1" presStyleIdx="3" presStyleCnt="11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Internet de las cosas con relleno sólido"/>
        </a:ext>
      </dgm:extLst>
    </dgm:pt>
    <dgm:pt modelId="{317DDEAF-EF02-470D-8561-C2FFFEF25019}" type="pres">
      <dgm:prSet presAssocID="{43FC5548-B2A4-40BA-9EEC-77205E55F3D7}" presName="sibTrans" presStyleCnt="0"/>
      <dgm:spPr/>
    </dgm:pt>
    <dgm:pt modelId="{DA3CAC87-D7AB-4740-B3EB-793997E01484}" type="pres">
      <dgm:prSet presAssocID="{EC2B6A3E-9EE5-4672-A759-1D282C7AB93E}" presName="composite" presStyleCnt="0"/>
      <dgm:spPr/>
    </dgm:pt>
    <dgm:pt modelId="{82F2A037-AF0B-4AF1-91C7-2A5E44343F4D}" type="pres">
      <dgm:prSet presAssocID="{EC2B6A3E-9EE5-4672-A759-1D282C7AB93E}" presName="rect1" presStyleLbl="trAlignAcc1" presStyleIdx="4" presStyleCnt="11">
        <dgm:presLayoutVars>
          <dgm:bulletEnabled val="1"/>
        </dgm:presLayoutVars>
      </dgm:prSet>
      <dgm:spPr/>
    </dgm:pt>
    <dgm:pt modelId="{348D908F-7525-4D6D-B849-FD184F78E36F}" type="pres">
      <dgm:prSet presAssocID="{EC2B6A3E-9EE5-4672-A759-1D282C7AB93E}" presName="rect2" presStyleLbl="fgImgPlace1" presStyleIdx="4" presStyleCnt="11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icrófono de radiocomunicación con relleno sólido"/>
        </a:ext>
      </dgm:extLst>
    </dgm:pt>
    <dgm:pt modelId="{01755468-7D65-4952-AE33-35DC2259EB9F}" type="pres">
      <dgm:prSet presAssocID="{5B7CFAD2-9CF6-44AC-94C6-2ADF2F9D5B13}" presName="sibTrans" presStyleCnt="0"/>
      <dgm:spPr/>
    </dgm:pt>
    <dgm:pt modelId="{6A41298D-A4F6-439A-9917-AFE8B3218E17}" type="pres">
      <dgm:prSet presAssocID="{5D692D26-A9D4-49D0-B905-B742F36320AB}" presName="composite" presStyleCnt="0"/>
      <dgm:spPr/>
    </dgm:pt>
    <dgm:pt modelId="{7663EC49-079F-423C-BFDC-5FBE21D4AF3D}" type="pres">
      <dgm:prSet presAssocID="{5D692D26-A9D4-49D0-B905-B742F36320AB}" presName="rect1" presStyleLbl="trAlignAcc1" presStyleIdx="5" presStyleCnt="11">
        <dgm:presLayoutVars>
          <dgm:bulletEnabled val="1"/>
        </dgm:presLayoutVars>
      </dgm:prSet>
      <dgm:spPr/>
    </dgm:pt>
    <dgm:pt modelId="{0110E94C-0E9B-4449-BA24-93E3E2B3C1A2}" type="pres">
      <dgm:prSet presAssocID="{5D692D26-A9D4-49D0-B905-B742F36320AB}" presName="rect2" presStyleLbl="fgImgPlace1" presStyleIdx="5" presStyleCnt="11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Flecha circular con relleno sólido"/>
        </a:ext>
      </dgm:extLst>
    </dgm:pt>
    <dgm:pt modelId="{53E542C4-7794-4F78-B7C5-DFD832F2008B}" type="pres">
      <dgm:prSet presAssocID="{F0D9FC62-6C76-4AD9-95D7-031F00FEA8E3}" presName="sibTrans" presStyleCnt="0"/>
      <dgm:spPr/>
    </dgm:pt>
    <dgm:pt modelId="{61DE5CC6-4D99-4D9C-B5A4-2905DDB6CF95}" type="pres">
      <dgm:prSet presAssocID="{DBE7922E-39C2-4B75-950B-4AF88B727E32}" presName="composite" presStyleCnt="0"/>
      <dgm:spPr/>
    </dgm:pt>
    <dgm:pt modelId="{0B6A467C-C347-4CEF-A9D6-7111F51A0730}" type="pres">
      <dgm:prSet presAssocID="{DBE7922E-39C2-4B75-950B-4AF88B727E32}" presName="rect1" presStyleLbl="trAlignAcc1" presStyleIdx="6" presStyleCnt="11">
        <dgm:presLayoutVars>
          <dgm:bulletEnabled val="1"/>
        </dgm:presLayoutVars>
      </dgm:prSet>
      <dgm:spPr/>
    </dgm:pt>
    <dgm:pt modelId="{42532C71-BF13-44F1-A050-A0E11B8C1806}" type="pres">
      <dgm:prSet presAssocID="{DBE7922E-39C2-4B75-950B-4AF88B727E32}" presName="rect2" presStyleLbl="fgImgPlace1" presStyleIdx="6" presStyleCnt="11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Brindis con relleno sólido"/>
        </a:ext>
      </dgm:extLst>
    </dgm:pt>
    <dgm:pt modelId="{FAEB5325-10B1-421F-BFCB-808F401C9EFD}" type="pres">
      <dgm:prSet presAssocID="{202FDF11-079F-4A1C-ABE9-A0F38223562D}" presName="sibTrans" presStyleCnt="0"/>
      <dgm:spPr/>
    </dgm:pt>
    <dgm:pt modelId="{BB754235-6C35-4721-9887-B2CA968C35A3}" type="pres">
      <dgm:prSet presAssocID="{CCD2D406-45C6-474A-BD3F-20034B86CB57}" presName="composite" presStyleCnt="0"/>
      <dgm:spPr/>
    </dgm:pt>
    <dgm:pt modelId="{7E6F3887-32D0-4A5F-9288-BEB58E518DCE}" type="pres">
      <dgm:prSet presAssocID="{CCD2D406-45C6-474A-BD3F-20034B86CB57}" presName="rect1" presStyleLbl="trAlignAcc1" presStyleIdx="7" presStyleCnt="11">
        <dgm:presLayoutVars>
          <dgm:bulletEnabled val="1"/>
        </dgm:presLayoutVars>
      </dgm:prSet>
      <dgm:spPr/>
    </dgm:pt>
    <dgm:pt modelId="{30228FBC-D4B6-483D-ACB3-5D50B1A87DED}" type="pres">
      <dgm:prSet presAssocID="{CCD2D406-45C6-474A-BD3F-20034B86CB57}" presName="rect2" presStyleLbl="fgImgPlace1" presStyleIdx="7" presStyleCnt="11"/>
      <dgm:spPr>
        <a:blipFill>
          <a:blip xmlns:r="http://schemas.openxmlformats.org/officeDocument/2006/relationships"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energía renovable con relleno sólido"/>
        </a:ext>
      </dgm:extLst>
    </dgm:pt>
    <dgm:pt modelId="{4BB0C03D-8987-4C03-9846-9E065B2BD087}" type="pres">
      <dgm:prSet presAssocID="{2F8CE48B-8D31-4A85-9477-16B3592718D2}" presName="sibTrans" presStyleCnt="0"/>
      <dgm:spPr/>
    </dgm:pt>
    <dgm:pt modelId="{91A70597-2194-4369-B148-CC29DEA6FF89}" type="pres">
      <dgm:prSet presAssocID="{004DC3F2-D108-4ECA-BA4E-3896DD18ADAC}" presName="composite" presStyleCnt="0"/>
      <dgm:spPr/>
    </dgm:pt>
    <dgm:pt modelId="{65680CAD-ECD6-4080-868C-426DD6A3207B}" type="pres">
      <dgm:prSet presAssocID="{004DC3F2-D108-4ECA-BA4E-3896DD18ADAC}" presName="rect1" presStyleLbl="trAlignAcc1" presStyleIdx="8" presStyleCnt="11">
        <dgm:presLayoutVars>
          <dgm:bulletEnabled val="1"/>
        </dgm:presLayoutVars>
      </dgm:prSet>
      <dgm:spPr/>
    </dgm:pt>
    <dgm:pt modelId="{F4F39D19-582C-4F88-A700-794A8EFB043D}" type="pres">
      <dgm:prSet presAssocID="{004DC3F2-D108-4ECA-BA4E-3896DD18ADAC}" presName="rect2" presStyleLbl="fgImgPlace1" presStyleIdx="8" presStyleCnt="11"/>
      <dgm:spPr>
        <a:blipFill>
          <a:blip xmlns:r="http://schemas.openxmlformats.org/officeDocument/2006/relationships"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ujer trabajadora de la construcción con relleno sólido"/>
        </a:ext>
      </dgm:extLst>
    </dgm:pt>
    <dgm:pt modelId="{81207046-2483-4484-A622-62076E2B362B}" type="pres">
      <dgm:prSet presAssocID="{1842CD61-B9EF-4F41-9471-CE2C8076BDE3}" presName="sibTrans" presStyleCnt="0"/>
      <dgm:spPr/>
    </dgm:pt>
    <dgm:pt modelId="{7A351410-D9D9-4D2F-9236-0D374CE8D7EE}" type="pres">
      <dgm:prSet presAssocID="{1885AE1A-B1B3-43ED-8A41-D31BFA1CB841}" presName="composite" presStyleCnt="0"/>
      <dgm:spPr/>
    </dgm:pt>
    <dgm:pt modelId="{A39E4E02-D124-4BA4-B011-822244A210AE}" type="pres">
      <dgm:prSet presAssocID="{1885AE1A-B1B3-43ED-8A41-D31BFA1CB841}" presName="rect1" presStyleLbl="trAlignAcc1" presStyleIdx="9" presStyleCnt="11">
        <dgm:presLayoutVars>
          <dgm:bulletEnabled val="1"/>
        </dgm:presLayoutVars>
      </dgm:prSet>
      <dgm:spPr/>
    </dgm:pt>
    <dgm:pt modelId="{ABC8A787-8C49-4CEF-BDFE-DF7CB6FEF06B}" type="pres">
      <dgm:prSet presAssocID="{1885AE1A-B1B3-43ED-8A41-D31BFA1CB841}" presName="rect2" presStyleLbl="fgImgPlace1" presStyleIdx="9" presStyleCnt="11"/>
      <dgm:spPr>
        <a:blipFill>
          <a:blip xmlns:r="http://schemas.openxmlformats.org/officeDocument/2006/relationships"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Género con relleno sólido"/>
        </a:ext>
      </dgm:extLst>
    </dgm:pt>
    <dgm:pt modelId="{4EEB20AE-AC9C-445A-8608-C7DEB68EEDBE}" type="pres">
      <dgm:prSet presAssocID="{08CCAE0D-7941-437A-9906-AD451F0E6262}" presName="sibTrans" presStyleCnt="0"/>
      <dgm:spPr/>
    </dgm:pt>
    <dgm:pt modelId="{71A42CB7-1E0D-459B-B1AB-FA8356DC7DA9}" type="pres">
      <dgm:prSet presAssocID="{30D4CD3A-47EF-4486-BE84-B06C9B825C1B}" presName="composite" presStyleCnt="0"/>
      <dgm:spPr/>
    </dgm:pt>
    <dgm:pt modelId="{462C52A3-2A27-42A3-B391-724529B8FD2F}" type="pres">
      <dgm:prSet presAssocID="{30D4CD3A-47EF-4486-BE84-B06C9B825C1B}" presName="rect1" presStyleLbl="trAlignAcc1" presStyleIdx="10" presStyleCnt="11">
        <dgm:presLayoutVars>
          <dgm:bulletEnabled val="1"/>
        </dgm:presLayoutVars>
      </dgm:prSet>
      <dgm:spPr/>
    </dgm:pt>
    <dgm:pt modelId="{46A3CDCD-2E7A-4627-B951-EF4C184C1742}" type="pres">
      <dgm:prSet presAssocID="{30D4CD3A-47EF-4486-BE84-B06C9B825C1B}" presName="rect2" presStyleLbl="fgImgPlace1" presStyleIdx="10" presStyleCnt="11"/>
      <dgm:spPr>
        <a:blipFill>
          <a:blip xmlns:r="http://schemas.openxmlformats.org/officeDocument/2006/relationships"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Voz con relleno sólido"/>
        </a:ext>
      </dgm:extLst>
    </dgm:pt>
  </dgm:ptLst>
  <dgm:cxnLst>
    <dgm:cxn modelId="{A4621105-5659-4CA6-B2D9-E168A369376B}" type="presOf" srcId="{9C4E05ED-9EF9-4070-8AA7-3723521CD16F}" destId="{633B4514-127C-4B1A-99F6-F9A188173E92}" srcOrd="0" destOrd="0" presId="urn:microsoft.com/office/officeart/2008/layout/PictureStrips"/>
    <dgm:cxn modelId="{2A0A010A-4960-4D38-8120-7D9F4534EA41}" srcId="{A259ADCC-4CEB-4406-BDA4-2928D983C975}" destId="{37230349-8E22-494C-BD3A-4A65AB8BFA8A}" srcOrd="2" destOrd="0" parTransId="{6EEED2AC-7847-4EC2-8473-4867F74D2269}" sibTransId="{EB5070D2-1F11-4D2B-AACA-8D969818D215}"/>
    <dgm:cxn modelId="{802B5A0E-F973-4A4D-A7DB-AE28FE9E5E96}" type="presOf" srcId="{A259ADCC-4CEB-4406-BDA4-2928D983C975}" destId="{8BCBFAE1-7DD0-468B-BB54-A103CA5E2BC6}" srcOrd="0" destOrd="0" presId="urn:microsoft.com/office/officeart/2008/layout/PictureStrips"/>
    <dgm:cxn modelId="{244ABD12-15CF-4DEF-8C4F-4964E76146C9}" type="presOf" srcId="{83F7ADEA-FB60-4033-BB52-9EE02F8B09D6}" destId="{865A25D9-9191-4787-9129-1EAEFE4A5E70}" srcOrd="0" destOrd="0" presId="urn:microsoft.com/office/officeart/2008/layout/PictureStrips"/>
    <dgm:cxn modelId="{53AFF219-5A31-46B3-A6C4-5BD7AFB8C785}" srcId="{A259ADCC-4CEB-4406-BDA4-2928D983C975}" destId="{9C4E05ED-9EF9-4070-8AA7-3723521CD16F}" srcOrd="0" destOrd="0" parTransId="{E5BFCE87-9A84-46B3-82B1-1F4851DA6ADD}" sibTransId="{DA3E54C4-E802-4D98-9A1E-9FE5813FE3D8}"/>
    <dgm:cxn modelId="{86C09123-C552-4549-B68E-25D667CEB19A}" type="presOf" srcId="{5D692D26-A9D4-49D0-B905-B742F36320AB}" destId="{7663EC49-079F-423C-BFDC-5FBE21D4AF3D}" srcOrd="0" destOrd="0" presId="urn:microsoft.com/office/officeart/2008/layout/PictureStrips"/>
    <dgm:cxn modelId="{B91CDE25-5A6B-4C33-91E9-77F0389B2B9D}" srcId="{A259ADCC-4CEB-4406-BDA4-2928D983C975}" destId="{30D4CD3A-47EF-4486-BE84-B06C9B825C1B}" srcOrd="10" destOrd="0" parTransId="{B1C0BC58-3F3B-4C59-B8BC-3ED371ACA95D}" sibTransId="{D18FDB52-B4D6-42C3-A01B-37F483D48270}"/>
    <dgm:cxn modelId="{BC487C34-884B-4F5D-8B72-368E183F399A}" srcId="{A259ADCC-4CEB-4406-BDA4-2928D983C975}" destId="{DBE7922E-39C2-4B75-950B-4AF88B727E32}" srcOrd="6" destOrd="0" parTransId="{479C8662-1524-4C20-93F1-AA0188831798}" sibTransId="{202FDF11-079F-4A1C-ABE9-A0F38223562D}"/>
    <dgm:cxn modelId="{C892C764-7527-40E9-8F06-1395DE1CC78B}" type="presOf" srcId="{EC2B6A3E-9EE5-4672-A759-1D282C7AB93E}" destId="{82F2A037-AF0B-4AF1-91C7-2A5E44343F4D}" srcOrd="0" destOrd="0" presId="urn:microsoft.com/office/officeart/2008/layout/PictureStrips"/>
    <dgm:cxn modelId="{8D50C26A-13E9-4C98-8163-33B5467897BB}" type="presOf" srcId="{004DC3F2-D108-4ECA-BA4E-3896DD18ADAC}" destId="{65680CAD-ECD6-4080-868C-426DD6A3207B}" srcOrd="0" destOrd="0" presId="urn:microsoft.com/office/officeart/2008/layout/PictureStrips"/>
    <dgm:cxn modelId="{B8C4BA54-A79A-423E-BEF0-11C67CAFA04B}" srcId="{A259ADCC-4CEB-4406-BDA4-2928D983C975}" destId="{EC2B6A3E-9EE5-4672-A759-1D282C7AB93E}" srcOrd="4" destOrd="0" parTransId="{BE39F547-8BA8-4512-AB19-F8EB0FA7295A}" sibTransId="{5B7CFAD2-9CF6-44AC-94C6-2ADF2F9D5B13}"/>
    <dgm:cxn modelId="{4D36A87E-43D3-44BC-AC9C-0853B773447B}" type="presOf" srcId="{DBE7922E-39C2-4B75-950B-4AF88B727E32}" destId="{0B6A467C-C347-4CEF-A9D6-7111F51A0730}" srcOrd="0" destOrd="0" presId="urn:microsoft.com/office/officeart/2008/layout/PictureStrips"/>
    <dgm:cxn modelId="{49C9D286-42ED-4623-B1A2-B42F27E5BBF4}" srcId="{A259ADCC-4CEB-4406-BDA4-2928D983C975}" destId="{CCD2D406-45C6-474A-BD3F-20034B86CB57}" srcOrd="7" destOrd="0" parTransId="{84BA380C-2C95-44A3-8C75-A768A82DD12C}" sibTransId="{2F8CE48B-8D31-4A85-9477-16B3592718D2}"/>
    <dgm:cxn modelId="{A0481697-4FA2-46E9-8691-4BC2CC2AFC1F}" srcId="{A259ADCC-4CEB-4406-BDA4-2928D983C975}" destId="{83F7ADEA-FB60-4033-BB52-9EE02F8B09D6}" srcOrd="3" destOrd="0" parTransId="{4101A177-7307-4D6D-BF37-FD169B44C897}" sibTransId="{43FC5548-B2A4-40BA-9EEC-77205E55F3D7}"/>
    <dgm:cxn modelId="{0FA870A4-C5CA-40F5-9BE5-7CB46322A515}" type="presOf" srcId="{1885AE1A-B1B3-43ED-8A41-D31BFA1CB841}" destId="{A39E4E02-D124-4BA4-B011-822244A210AE}" srcOrd="0" destOrd="0" presId="urn:microsoft.com/office/officeart/2008/layout/PictureStrips"/>
    <dgm:cxn modelId="{731391AC-8363-4698-86CF-60D1D986B204}" type="presOf" srcId="{37230349-8E22-494C-BD3A-4A65AB8BFA8A}" destId="{F51701DD-95DA-460E-87BB-9294F48406DD}" srcOrd="0" destOrd="0" presId="urn:microsoft.com/office/officeart/2008/layout/PictureStrips"/>
    <dgm:cxn modelId="{DABD89B8-64E8-4755-8885-4E2D6C02C6F8}" srcId="{A259ADCC-4CEB-4406-BDA4-2928D983C975}" destId="{6251619C-C07B-407B-839E-9558926EBC3E}" srcOrd="1" destOrd="0" parTransId="{3BAC2BFA-724A-4554-922C-001BA4984E9E}" sibTransId="{D5012459-2422-4C7A-8A38-9359D6ECD8A8}"/>
    <dgm:cxn modelId="{48C22CBB-2D62-4439-A1F1-32C26EB58CB2}" srcId="{A259ADCC-4CEB-4406-BDA4-2928D983C975}" destId="{004DC3F2-D108-4ECA-BA4E-3896DD18ADAC}" srcOrd="8" destOrd="0" parTransId="{07A2E806-992E-4835-9CD5-99BACBFDD5C3}" sibTransId="{1842CD61-B9EF-4F41-9471-CE2C8076BDE3}"/>
    <dgm:cxn modelId="{C0B689C3-BDF1-4A19-830C-5A6EA4DE3F2F}" type="presOf" srcId="{CCD2D406-45C6-474A-BD3F-20034B86CB57}" destId="{7E6F3887-32D0-4A5F-9288-BEB58E518DCE}" srcOrd="0" destOrd="0" presId="urn:microsoft.com/office/officeart/2008/layout/PictureStrips"/>
    <dgm:cxn modelId="{2ED0EDD8-B70D-41BA-B298-77617A00A660}" type="presOf" srcId="{30D4CD3A-47EF-4486-BE84-B06C9B825C1B}" destId="{462C52A3-2A27-42A3-B391-724529B8FD2F}" srcOrd="0" destOrd="0" presId="urn:microsoft.com/office/officeart/2008/layout/PictureStrips"/>
    <dgm:cxn modelId="{272F3CE3-936C-4284-981B-35534AB0574E}" srcId="{A259ADCC-4CEB-4406-BDA4-2928D983C975}" destId="{5D692D26-A9D4-49D0-B905-B742F36320AB}" srcOrd="5" destOrd="0" parTransId="{D8B40268-2060-4745-B924-33496C2FD1C1}" sibTransId="{F0D9FC62-6C76-4AD9-95D7-031F00FEA8E3}"/>
    <dgm:cxn modelId="{D188C5E4-21CF-4EF3-AB7B-6B870EFE4DE3}" type="presOf" srcId="{6251619C-C07B-407B-839E-9558926EBC3E}" destId="{B319CEDE-7CE9-4149-80CF-EE31DA770752}" srcOrd="0" destOrd="0" presId="urn:microsoft.com/office/officeart/2008/layout/PictureStrips"/>
    <dgm:cxn modelId="{27E080EE-A36D-4BF6-B35A-2749DD39E559}" srcId="{A259ADCC-4CEB-4406-BDA4-2928D983C975}" destId="{1885AE1A-B1B3-43ED-8A41-D31BFA1CB841}" srcOrd="9" destOrd="0" parTransId="{51129ED3-3986-40EA-9786-CC81D5C75A67}" sibTransId="{08CCAE0D-7941-437A-9906-AD451F0E6262}"/>
    <dgm:cxn modelId="{7226A051-D653-4CE3-8872-12D7AA561DE6}" type="presParOf" srcId="{8BCBFAE1-7DD0-468B-BB54-A103CA5E2BC6}" destId="{A703A244-69C5-4F22-A9B7-F72121801918}" srcOrd="0" destOrd="0" presId="urn:microsoft.com/office/officeart/2008/layout/PictureStrips"/>
    <dgm:cxn modelId="{F1D295D0-F788-4F3C-90CA-CF1A89B2763D}" type="presParOf" srcId="{A703A244-69C5-4F22-A9B7-F72121801918}" destId="{633B4514-127C-4B1A-99F6-F9A188173E92}" srcOrd="0" destOrd="0" presId="urn:microsoft.com/office/officeart/2008/layout/PictureStrips"/>
    <dgm:cxn modelId="{CD26D4C1-DD37-41D1-A4FA-E57AD2A363AA}" type="presParOf" srcId="{A703A244-69C5-4F22-A9B7-F72121801918}" destId="{F585544A-2675-4E93-BE65-D2F311FE64A0}" srcOrd="1" destOrd="0" presId="urn:microsoft.com/office/officeart/2008/layout/PictureStrips"/>
    <dgm:cxn modelId="{0DB59357-5F35-4FCD-BB94-27432C5C9377}" type="presParOf" srcId="{8BCBFAE1-7DD0-468B-BB54-A103CA5E2BC6}" destId="{4E38E579-EF9C-470D-B8DE-2B214D8B5DA1}" srcOrd="1" destOrd="0" presId="urn:microsoft.com/office/officeart/2008/layout/PictureStrips"/>
    <dgm:cxn modelId="{274471B7-3F68-42D9-A137-B127A872ED2B}" type="presParOf" srcId="{8BCBFAE1-7DD0-468B-BB54-A103CA5E2BC6}" destId="{2D9EDA36-CDF7-4BEA-B34D-8634F7897860}" srcOrd="2" destOrd="0" presId="urn:microsoft.com/office/officeart/2008/layout/PictureStrips"/>
    <dgm:cxn modelId="{EC4EBB4A-C2A4-46AD-8EDA-B6401D9265C6}" type="presParOf" srcId="{2D9EDA36-CDF7-4BEA-B34D-8634F7897860}" destId="{B319CEDE-7CE9-4149-80CF-EE31DA770752}" srcOrd="0" destOrd="0" presId="urn:microsoft.com/office/officeart/2008/layout/PictureStrips"/>
    <dgm:cxn modelId="{AC82E4ED-9341-478A-8C1E-A5E0D4E60E72}" type="presParOf" srcId="{2D9EDA36-CDF7-4BEA-B34D-8634F7897860}" destId="{AAE267CA-CE08-4F05-B51C-6F6734587630}" srcOrd="1" destOrd="0" presId="urn:microsoft.com/office/officeart/2008/layout/PictureStrips"/>
    <dgm:cxn modelId="{A7568460-508F-4D4D-832C-BB0B4EBC2F7C}" type="presParOf" srcId="{8BCBFAE1-7DD0-468B-BB54-A103CA5E2BC6}" destId="{BCD0AABF-6D2E-4E14-A077-76B8BED658E7}" srcOrd="3" destOrd="0" presId="urn:microsoft.com/office/officeart/2008/layout/PictureStrips"/>
    <dgm:cxn modelId="{656C5752-AB8C-4ECA-BD02-F7A7A8EA9962}" type="presParOf" srcId="{8BCBFAE1-7DD0-468B-BB54-A103CA5E2BC6}" destId="{A662244C-C1F2-4B31-BAB6-1CD28D664B01}" srcOrd="4" destOrd="0" presId="urn:microsoft.com/office/officeart/2008/layout/PictureStrips"/>
    <dgm:cxn modelId="{66867EE7-E902-4287-921B-52E34A1BCCC6}" type="presParOf" srcId="{A662244C-C1F2-4B31-BAB6-1CD28D664B01}" destId="{F51701DD-95DA-460E-87BB-9294F48406DD}" srcOrd="0" destOrd="0" presId="urn:microsoft.com/office/officeart/2008/layout/PictureStrips"/>
    <dgm:cxn modelId="{682D06DA-CC40-46D5-87F9-E2EDAA877546}" type="presParOf" srcId="{A662244C-C1F2-4B31-BAB6-1CD28D664B01}" destId="{F65AACBF-1755-48B3-B218-6EEF88E3F0E4}" srcOrd="1" destOrd="0" presId="urn:microsoft.com/office/officeart/2008/layout/PictureStrips"/>
    <dgm:cxn modelId="{0AA611DC-6CB6-44A9-8281-DCCDA04F56FF}" type="presParOf" srcId="{8BCBFAE1-7DD0-468B-BB54-A103CA5E2BC6}" destId="{B0F5ABD5-4399-43E5-AAF5-007694685AE9}" srcOrd="5" destOrd="0" presId="urn:microsoft.com/office/officeart/2008/layout/PictureStrips"/>
    <dgm:cxn modelId="{15C45605-51B8-4B34-83CD-B72D9080CBFD}" type="presParOf" srcId="{8BCBFAE1-7DD0-468B-BB54-A103CA5E2BC6}" destId="{E0DF04B7-926D-4D45-8D9C-BB10AD4A67FE}" srcOrd="6" destOrd="0" presId="urn:microsoft.com/office/officeart/2008/layout/PictureStrips"/>
    <dgm:cxn modelId="{839638CF-BD89-490E-A9E8-472F0852BCB4}" type="presParOf" srcId="{E0DF04B7-926D-4D45-8D9C-BB10AD4A67FE}" destId="{865A25D9-9191-4787-9129-1EAEFE4A5E70}" srcOrd="0" destOrd="0" presId="urn:microsoft.com/office/officeart/2008/layout/PictureStrips"/>
    <dgm:cxn modelId="{ADE32E95-ABDF-4A3F-AE1A-BFD5EADCE9B0}" type="presParOf" srcId="{E0DF04B7-926D-4D45-8D9C-BB10AD4A67FE}" destId="{8466C3C6-88A7-41AD-99E0-24DD337A97B1}" srcOrd="1" destOrd="0" presId="urn:microsoft.com/office/officeart/2008/layout/PictureStrips"/>
    <dgm:cxn modelId="{32737113-6B84-4151-AF4D-ED7C28B6D086}" type="presParOf" srcId="{8BCBFAE1-7DD0-468B-BB54-A103CA5E2BC6}" destId="{317DDEAF-EF02-470D-8561-C2FFFEF25019}" srcOrd="7" destOrd="0" presId="urn:microsoft.com/office/officeart/2008/layout/PictureStrips"/>
    <dgm:cxn modelId="{E6F76D2D-E395-48C3-A2E4-1AEA0FC97004}" type="presParOf" srcId="{8BCBFAE1-7DD0-468B-BB54-A103CA5E2BC6}" destId="{DA3CAC87-D7AB-4740-B3EB-793997E01484}" srcOrd="8" destOrd="0" presId="urn:microsoft.com/office/officeart/2008/layout/PictureStrips"/>
    <dgm:cxn modelId="{33A92FA1-27B1-4C03-AFCB-83B305B98F57}" type="presParOf" srcId="{DA3CAC87-D7AB-4740-B3EB-793997E01484}" destId="{82F2A037-AF0B-4AF1-91C7-2A5E44343F4D}" srcOrd="0" destOrd="0" presId="urn:microsoft.com/office/officeart/2008/layout/PictureStrips"/>
    <dgm:cxn modelId="{29E4E740-8165-47C8-B1EC-BB15C8DF35C4}" type="presParOf" srcId="{DA3CAC87-D7AB-4740-B3EB-793997E01484}" destId="{348D908F-7525-4D6D-B849-FD184F78E36F}" srcOrd="1" destOrd="0" presId="urn:microsoft.com/office/officeart/2008/layout/PictureStrips"/>
    <dgm:cxn modelId="{43315C62-7B00-4D66-9C6F-EEAC3C0F2202}" type="presParOf" srcId="{8BCBFAE1-7DD0-468B-BB54-A103CA5E2BC6}" destId="{01755468-7D65-4952-AE33-35DC2259EB9F}" srcOrd="9" destOrd="0" presId="urn:microsoft.com/office/officeart/2008/layout/PictureStrips"/>
    <dgm:cxn modelId="{18AB3EFA-E910-42BA-91E0-4D3A5A30486D}" type="presParOf" srcId="{8BCBFAE1-7DD0-468B-BB54-A103CA5E2BC6}" destId="{6A41298D-A4F6-439A-9917-AFE8B3218E17}" srcOrd="10" destOrd="0" presId="urn:microsoft.com/office/officeart/2008/layout/PictureStrips"/>
    <dgm:cxn modelId="{916257EF-9952-4451-960F-603E8B8799D0}" type="presParOf" srcId="{6A41298D-A4F6-439A-9917-AFE8B3218E17}" destId="{7663EC49-079F-423C-BFDC-5FBE21D4AF3D}" srcOrd="0" destOrd="0" presId="urn:microsoft.com/office/officeart/2008/layout/PictureStrips"/>
    <dgm:cxn modelId="{861B4E7C-B067-4691-8927-1D71641B15EA}" type="presParOf" srcId="{6A41298D-A4F6-439A-9917-AFE8B3218E17}" destId="{0110E94C-0E9B-4449-BA24-93E3E2B3C1A2}" srcOrd="1" destOrd="0" presId="urn:microsoft.com/office/officeart/2008/layout/PictureStrips"/>
    <dgm:cxn modelId="{87E5C357-3890-40CE-A1BD-EAA3EF5FDA66}" type="presParOf" srcId="{8BCBFAE1-7DD0-468B-BB54-A103CA5E2BC6}" destId="{53E542C4-7794-4F78-B7C5-DFD832F2008B}" srcOrd="11" destOrd="0" presId="urn:microsoft.com/office/officeart/2008/layout/PictureStrips"/>
    <dgm:cxn modelId="{FED89385-4598-4B3C-ACE0-DB0093D42519}" type="presParOf" srcId="{8BCBFAE1-7DD0-468B-BB54-A103CA5E2BC6}" destId="{61DE5CC6-4D99-4D9C-B5A4-2905DDB6CF95}" srcOrd="12" destOrd="0" presId="urn:microsoft.com/office/officeart/2008/layout/PictureStrips"/>
    <dgm:cxn modelId="{1101CBEB-C0BC-4600-994D-2C8682869550}" type="presParOf" srcId="{61DE5CC6-4D99-4D9C-B5A4-2905DDB6CF95}" destId="{0B6A467C-C347-4CEF-A9D6-7111F51A0730}" srcOrd="0" destOrd="0" presId="urn:microsoft.com/office/officeart/2008/layout/PictureStrips"/>
    <dgm:cxn modelId="{C3A49223-76A4-444B-AA50-438466526D01}" type="presParOf" srcId="{61DE5CC6-4D99-4D9C-B5A4-2905DDB6CF95}" destId="{42532C71-BF13-44F1-A050-A0E11B8C1806}" srcOrd="1" destOrd="0" presId="urn:microsoft.com/office/officeart/2008/layout/PictureStrips"/>
    <dgm:cxn modelId="{63D12D68-9F2D-4A0C-B68B-6E3F388B8CB3}" type="presParOf" srcId="{8BCBFAE1-7DD0-468B-BB54-A103CA5E2BC6}" destId="{FAEB5325-10B1-421F-BFCB-808F401C9EFD}" srcOrd="13" destOrd="0" presId="urn:microsoft.com/office/officeart/2008/layout/PictureStrips"/>
    <dgm:cxn modelId="{AED8FB19-EA66-46A4-AAB6-D19BF683F0E4}" type="presParOf" srcId="{8BCBFAE1-7DD0-468B-BB54-A103CA5E2BC6}" destId="{BB754235-6C35-4721-9887-B2CA968C35A3}" srcOrd="14" destOrd="0" presId="urn:microsoft.com/office/officeart/2008/layout/PictureStrips"/>
    <dgm:cxn modelId="{B26B8F91-7386-4449-852D-C8D9780B1754}" type="presParOf" srcId="{BB754235-6C35-4721-9887-B2CA968C35A3}" destId="{7E6F3887-32D0-4A5F-9288-BEB58E518DCE}" srcOrd="0" destOrd="0" presId="urn:microsoft.com/office/officeart/2008/layout/PictureStrips"/>
    <dgm:cxn modelId="{F314E639-D1E6-4CD9-BE45-84EEECC86BC0}" type="presParOf" srcId="{BB754235-6C35-4721-9887-B2CA968C35A3}" destId="{30228FBC-D4B6-483D-ACB3-5D50B1A87DED}" srcOrd="1" destOrd="0" presId="urn:microsoft.com/office/officeart/2008/layout/PictureStrips"/>
    <dgm:cxn modelId="{78386600-1DFD-4DA2-B4BA-DCB7563B6A71}" type="presParOf" srcId="{8BCBFAE1-7DD0-468B-BB54-A103CA5E2BC6}" destId="{4BB0C03D-8987-4C03-9846-9E065B2BD087}" srcOrd="15" destOrd="0" presId="urn:microsoft.com/office/officeart/2008/layout/PictureStrips"/>
    <dgm:cxn modelId="{3A0CE12D-657A-4287-9D37-A0EED944548E}" type="presParOf" srcId="{8BCBFAE1-7DD0-468B-BB54-A103CA5E2BC6}" destId="{91A70597-2194-4369-B148-CC29DEA6FF89}" srcOrd="16" destOrd="0" presId="urn:microsoft.com/office/officeart/2008/layout/PictureStrips"/>
    <dgm:cxn modelId="{663C0390-714F-4AFC-8723-3A6670672FFA}" type="presParOf" srcId="{91A70597-2194-4369-B148-CC29DEA6FF89}" destId="{65680CAD-ECD6-4080-868C-426DD6A3207B}" srcOrd="0" destOrd="0" presId="urn:microsoft.com/office/officeart/2008/layout/PictureStrips"/>
    <dgm:cxn modelId="{7D4B5C0F-8A80-42C3-AC16-2A730221690B}" type="presParOf" srcId="{91A70597-2194-4369-B148-CC29DEA6FF89}" destId="{F4F39D19-582C-4F88-A700-794A8EFB043D}" srcOrd="1" destOrd="0" presId="urn:microsoft.com/office/officeart/2008/layout/PictureStrips"/>
    <dgm:cxn modelId="{0A4DD5CA-9641-4C09-9840-C1962C58895E}" type="presParOf" srcId="{8BCBFAE1-7DD0-468B-BB54-A103CA5E2BC6}" destId="{81207046-2483-4484-A622-62076E2B362B}" srcOrd="17" destOrd="0" presId="urn:microsoft.com/office/officeart/2008/layout/PictureStrips"/>
    <dgm:cxn modelId="{B242B732-1ECE-4261-BF33-4A28C4422D30}" type="presParOf" srcId="{8BCBFAE1-7DD0-468B-BB54-A103CA5E2BC6}" destId="{7A351410-D9D9-4D2F-9236-0D374CE8D7EE}" srcOrd="18" destOrd="0" presId="urn:microsoft.com/office/officeart/2008/layout/PictureStrips"/>
    <dgm:cxn modelId="{2E6CAF84-2048-4A39-BBF3-FCBBE19D3076}" type="presParOf" srcId="{7A351410-D9D9-4D2F-9236-0D374CE8D7EE}" destId="{A39E4E02-D124-4BA4-B011-822244A210AE}" srcOrd="0" destOrd="0" presId="urn:microsoft.com/office/officeart/2008/layout/PictureStrips"/>
    <dgm:cxn modelId="{EA8BFD74-CE01-496A-9A74-D61A1C0E2A97}" type="presParOf" srcId="{7A351410-D9D9-4D2F-9236-0D374CE8D7EE}" destId="{ABC8A787-8C49-4CEF-BDFE-DF7CB6FEF06B}" srcOrd="1" destOrd="0" presId="urn:microsoft.com/office/officeart/2008/layout/PictureStrips"/>
    <dgm:cxn modelId="{2B8A9435-96C1-4B44-9B9C-44B689489118}" type="presParOf" srcId="{8BCBFAE1-7DD0-468B-BB54-A103CA5E2BC6}" destId="{4EEB20AE-AC9C-445A-8608-C7DEB68EEDBE}" srcOrd="19" destOrd="0" presId="urn:microsoft.com/office/officeart/2008/layout/PictureStrips"/>
    <dgm:cxn modelId="{EBEFD1C7-AE40-429E-8AA5-6B5E1E2D84F4}" type="presParOf" srcId="{8BCBFAE1-7DD0-468B-BB54-A103CA5E2BC6}" destId="{71A42CB7-1E0D-459B-B1AB-FA8356DC7DA9}" srcOrd="20" destOrd="0" presId="urn:microsoft.com/office/officeart/2008/layout/PictureStrips"/>
    <dgm:cxn modelId="{672E287B-E486-4C0C-B69D-F2B4D9B31BD7}" type="presParOf" srcId="{71A42CB7-1E0D-459B-B1AB-FA8356DC7DA9}" destId="{462C52A3-2A27-42A3-B391-724529B8FD2F}" srcOrd="0" destOrd="0" presId="urn:microsoft.com/office/officeart/2008/layout/PictureStrips"/>
    <dgm:cxn modelId="{DC9FFBEC-BF12-4C64-84F9-65F0D82C4D7A}" type="presParOf" srcId="{71A42CB7-1E0D-459B-B1AB-FA8356DC7DA9}" destId="{46A3CDCD-2E7A-4627-B951-EF4C184C1742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3B4514-127C-4B1A-99F6-F9A188173E92}">
      <dsp:nvSpPr>
        <dsp:cNvPr id="0" name=""/>
        <dsp:cNvSpPr/>
      </dsp:nvSpPr>
      <dsp:spPr>
        <a:xfrm>
          <a:off x="107500" y="908607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1. Organización</a:t>
          </a:r>
        </a:p>
      </dsp:txBody>
      <dsp:txXfrm>
        <a:off x="107500" y="908607"/>
        <a:ext cx="2487929" cy="777478"/>
      </dsp:txXfrm>
    </dsp:sp>
    <dsp:sp modelId="{F585544A-2675-4E93-BE65-D2F311FE64A0}">
      <dsp:nvSpPr>
        <dsp:cNvPr id="0" name=""/>
        <dsp:cNvSpPr/>
      </dsp:nvSpPr>
      <dsp:spPr>
        <a:xfrm>
          <a:off x="3836" y="796305"/>
          <a:ext cx="544234" cy="81635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9CEDE-7CE9-4149-80CF-EE31DA770752}">
      <dsp:nvSpPr>
        <dsp:cNvPr id="0" name=""/>
        <dsp:cNvSpPr/>
      </dsp:nvSpPr>
      <dsp:spPr>
        <a:xfrm>
          <a:off x="2871866" y="908607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2. Nuestros puertos</a:t>
          </a:r>
        </a:p>
      </dsp:txBody>
      <dsp:txXfrm>
        <a:off x="2871866" y="908607"/>
        <a:ext cx="2487929" cy="777478"/>
      </dsp:txXfrm>
    </dsp:sp>
    <dsp:sp modelId="{AAE267CA-CE08-4F05-B51C-6F6734587630}">
      <dsp:nvSpPr>
        <dsp:cNvPr id="0" name=""/>
        <dsp:cNvSpPr/>
      </dsp:nvSpPr>
      <dsp:spPr>
        <a:xfrm>
          <a:off x="2768203" y="796305"/>
          <a:ext cx="544234" cy="81635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1701DD-95DA-460E-87BB-9294F48406DD}">
      <dsp:nvSpPr>
        <dsp:cNvPr id="0" name=""/>
        <dsp:cNvSpPr/>
      </dsp:nvSpPr>
      <dsp:spPr>
        <a:xfrm>
          <a:off x="5636233" y="908607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3. Regularización normativa</a:t>
          </a:r>
        </a:p>
      </dsp:txBody>
      <dsp:txXfrm>
        <a:off x="5636233" y="908607"/>
        <a:ext cx="2487929" cy="777478"/>
      </dsp:txXfrm>
    </dsp:sp>
    <dsp:sp modelId="{F65AACBF-1755-48B3-B218-6EEF88E3F0E4}">
      <dsp:nvSpPr>
        <dsp:cNvPr id="0" name=""/>
        <dsp:cNvSpPr/>
      </dsp:nvSpPr>
      <dsp:spPr>
        <a:xfrm>
          <a:off x="5532569" y="796305"/>
          <a:ext cx="544234" cy="81635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5A25D9-9191-4787-9129-1EAEFE4A5E70}">
      <dsp:nvSpPr>
        <dsp:cNvPr id="0" name=""/>
        <dsp:cNvSpPr/>
      </dsp:nvSpPr>
      <dsp:spPr>
        <a:xfrm>
          <a:off x="107500" y="1887366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4. Modernización</a:t>
          </a:r>
        </a:p>
      </dsp:txBody>
      <dsp:txXfrm>
        <a:off x="107500" y="1887366"/>
        <a:ext cx="2487929" cy="777478"/>
      </dsp:txXfrm>
    </dsp:sp>
    <dsp:sp modelId="{8466C3C6-88A7-41AD-99E0-24DD337A97B1}">
      <dsp:nvSpPr>
        <dsp:cNvPr id="0" name=""/>
        <dsp:cNvSpPr/>
      </dsp:nvSpPr>
      <dsp:spPr>
        <a:xfrm>
          <a:off x="3836" y="1775063"/>
          <a:ext cx="544234" cy="81635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F2A037-AF0B-4AF1-91C7-2A5E44343F4D}">
      <dsp:nvSpPr>
        <dsp:cNvPr id="0" name=""/>
        <dsp:cNvSpPr/>
      </dsp:nvSpPr>
      <dsp:spPr>
        <a:xfrm>
          <a:off x="2871866" y="1887366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5. Comunicación e imagen</a:t>
          </a:r>
        </a:p>
      </dsp:txBody>
      <dsp:txXfrm>
        <a:off x="2871866" y="1887366"/>
        <a:ext cx="2487929" cy="777478"/>
      </dsp:txXfrm>
    </dsp:sp>
    <dsp:sp modelId="{348D908F-7525-4D6D-B849-FD184F78E36F}">
      <dsp:nvSpPr>
        <dsp:cNvPr id="0" name=""/>
        <dsp:cNvSpPr/>
      </dsp:nvSpPr>
      <dsp:spPr>
        <a:xfrm>
          <a:off x="2768203" y="1775063"/>
          <a:ext cx="544234" cy="81635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63EC49-079F-423C-BFDC-5FBE21D4AF3D}">
      <dsp:nvSpPr>
        <dsp:cNvPr id="0" name=""/>
        <dsp:cNvSpPr/>
      </dsp:nvSpPr>
      <dsp:spPr>
        <a:xfrm>
          <a:off x="5636233" y="1887366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6.</a:t>
          </a:r>
          <a:r>
            <a:rPr lang="es-ES" sz="1700" b="0" i="0" u="none" strike="noStrike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RSC</a:t>
          </a:r>
          <a:r>
            <a:rPr lang="es-ES" sz="1700" kern="1200" noProof="0" dirty="0"/>
            <a:t> </a:t>
          </a:r>
        </a:p>
      </dsp:txBody>
      <dsp:txXfrm>
        <a:off x="5636233" y="1887366"/>
        <a:ext cx="2487929" cy="777478"/>
      </dsp:txXfrm>
    </dsp:sp>
    <dsp:sp modelId="{0110E94C-0E9B-4449-BA24-93E3E2B3C1A2}">
      <dsp:nvSpPr>
        <dsp:cNvPr id="0" name=""/>
        <dsp:cNvSpPr/>
      </dsp:nvSpPr>
      <dsp:spPr>
        <a:xfrm>
          <a:off x="5532569" y="1775063"/>
          <a:ext cx="544234" cy="816352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6A467C-C347-4CEF-A9D6-7111F51A0730}">
      <dsp:nvSpPr>
        <dsp:cNvPr id="0" name=""/>
        <dsp:cNvSpPr/>
      </dsp:nvSpPr>
      <dsp:spPr>
        <a:xfrm>
          <a:off x="107500" y="2866124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7. Accesibilidad</a:t>
          </a:r>
        </a:p>
      </dsp:txBody>
      <dsp:txXfrm>
        <a:off x="107500" y="2866124"/>
        <a:ext cx="2487929" cy="777478"/>
      </dsp:txXfrm>
    </dsp:sp>
    <dsp:sp modelId="{42532C71-BF13-44F1-A050-A0E11B8C1806}">
      <dsp:nvSpPr>
        <dsp:cNvPr id="0" name=""/>
        <dsp:cNvSpPr/>
      </dsp:nvSpPr>
      <dsp:spPr>
        <a:xfrm>
          <a:off x="3836" y="2753822"/>
          <a:ext cx="544234" cy="816352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6F3887-32D0-4A5F-9288-BEB58E518DCE}">
      <dsp:nvSpPr>
        <dsp:cNvPr id="0" name=""/>
        <dsp:cNvSpPr/>
      </dsp:nvSpPr>
      <dsp:spPr>
        <a:xfrm>
          <a:off x="2871866" y="2866124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8.Medioambiente</a:t>
          </a:r>
        </a:p>
      </dsp:txBody>
      <dsp:txXfrm>
        <a:off x="2871866" y="2866124"/>
        <a:ext cx="2487929" cy="777478"/>
      </dsp:txXfrm>
    </dsp:sp>
    <dsp:sp modelId="{30228FBC-D4B6-483D-ACB3-5D50B1A87DED}">
      <dsp:nvSpPr>
        <dsp:cNvPr id="0" name=""/>
        <dsp:cNvSpPr/>
      </dsp:nvSpPr>
      <dsp:spPr>
        <a:xfrm>
          <a:off x="2768203" y="2753822"/>
          <a:ext cx="544234" cy="816352"/>
        </a:xfrm>
        <a:prstGeom prst="rect">
          <a:avLst/>
        </a:prstGeom>
        <a:blipFill>
          <a:blip xmlns:r="http://schemas.openxmlformats.org/officeDocument/2006/relationships"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680CAD-ECD6-4080-868C-426DD6A3207B}">
      <dsp:nvSpPr>
        <dsp:cNvPr id="0" name=""/>
        <dsp:cNvSpPr/>
      </dsp:nvSpPr>
      <dsp:spPr>
        <a:xfrm>
          <a:off x="5636233" y="2866124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9. Seguridad y salud laboral </a:t>
          </a:r>
        </a:p>
      </dsp:txBody>
      <dsp:txXfrm>
        <a:off x="5636233" y="2866124"/>
        <a:ext cx="2487929" cy="777478"/>
      </dsp:txXfrm>
    </dsp:sp>
    <dsp:sp modelId="{F4F39D19-582C-4F88-A700-794A8EFB043D}">
      <dsp:nvSpPr>
        <dsp:cNvPr id="0" name=""/>
        <dsp:cNvSpPr/>
      </dsp:nvSpPr>
      <dsp:spPr>
        <a:xfrm>
          <a:off x="5532569" y="2753822"/>
          <a:ext cx="544234" cy="816352"/>
        </a:xfrm>
        <a:prstGeom prst="rect">
          <a:avLst/>
        </a:prstGeom>
        <a:blipFill>
          <a:blip xmlns:r="http://schemas.openxmlformats.org/officeDocument/2006/relationships"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9E4E02-D124-4BA4-B011-822244A210AE}">
      <dsp:nvSpPr>
        <dsp:cNvPr id="0" name=""/>
        <dsp:cNvSpPr/>
      </dsp:nvSpPr>
      <dsp:spPr>
        <a:xfrm>
          <a:off x="1489683" y="3844883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10. Igualdad entre mujeres y hombres</a:t>
          </a:r>
        </a:p>
      </dsp:txBody>
      <dsp:txXfrm>
        <a:off x="1489683" y="3844883"/>
        <a:ext cx="2487929" cy="777478"/>
      </dsp:txXfrm>
    </dsp:sp>
    <dsp:sp modelId="{ABC8A787-8C49-4CEF-BDFE-DF7CB6FEF06B}">
      <dsp:nvSpPr>
        <dsp:cNvPr id="0" name=""/>
        <dsp:cNvSpPr/>
      </dsp:nvSpPr>
      <dsp:spPr>
        <a:xfrm>
          <a:off x="1386019" y="3732581"/>
          <a:ext cx="544234" cy="816352"/>
        </a:xfrm>
        <a:prstGeom prst="rect">
          <a:avLst/>
        </a:prstGeom>
        <a:blipFill>
          <a:blip xmlns:r="http://schemas.openxmlformats.org/officeDocument/2006/relationships"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2C52A3-2A27-42A3-B391-724529B8FD2F}">
      <dsp:nvSpPr>
        <dsp:cNvPr id="0" name=""/>
        <dsp:cNvSpPr/>
      </dsp:nvSpPr>
      <dsp:spPr>
        <a:xfrm>
          <a:off x="4254050" y="3844883"/>
          <a:ext cx="2487929" cy="7774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2661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kern="1200" noProof="0" dirty="0"/>
            <a:t>11. Euskara</a:t>
          </a:r>
        </a:p>
      </dsp:txBody>
      <dsp:txXfrm>
        <a:off x="4254050" y="3844883"/>
        <a:ext cx="2487929" cy="777478"/>
      </dsp:txXfrm>
    </dsp:sp>
    <dsp:sp modelId="{46A3CDCD-2E7A-4627-B951-EF4C184C1742}">
      <dsp:nvSpPr>
        <dsp:cNvPr id="0" name=""/>
        <dsp:cNvSpPr/>
      </dsp:nvSpPr>
      <dsp:spPr>
        <a:xfrm>
          <a:off x="4150386" y="3732581"/>
          <a:ext cx="544234" cy="816352"/>
        </a:xfrm>
        <a:prstGeom prst="rect">
          <a:avLst/>
        </a:prstGeom>
        <a:blipFill>
          <a:blip xmlns:r="http://schemas.openxmlformats.org/officeDocument/2006/relationships"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769B8B77-C6D1-43CE-ACED-393EF14914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7089" cy="497047"/>
          </a:xfrm>
          <a:prstGeom prst="rect">
            <a:avLst/>
          </a:prstGeom>
        </p:spPr>
        <p:txBody>
          <a:bodyPr vert="horz" lIns="91459" tIns="45730" rIns="91459" bIns="4573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7647DC5-0DAE-4451-BA0B-2EC9BCCD24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587" y="0"/>
            <a:ext cx="2947089" cy="497047"/>
          </a:xfrm>
          <a:prstGeom prst="rect">
            <a:avLst/>
          </a:prstGeom>
        </p:spPr>
        <p:txBody>
          <a:bodyPr vert="horz" lIns="91459" tIns="45730" rIns="91459" bIns="45730" rtlCol="0"/>
          <a:lstStyle>
            <a:lvl1pPr algn="r">
              <a:defRPr sz="1200"/>
            </a:lvl1pPr>
          </a:lstStyle>
          <a:p>
            <a:fld id="{BFB71761-8F0E-4B4A-B94E-5C3315601680}" type="datetimeFigureOut">
              <a:rPr lang="es-ES" smtClean="0"/>
              <a:t>07/06/2023</a:t>
            </a:fld>
            <a:endParaRPr lang="es-ES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A57B-268D-4015-B444-74B53EB6C8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2766"/>
            <a:ext cx="2947089" cy="497047"/>
          </a:xfrm>
          <a:prstGeom prst="rect">
            <a:avLst/>
          </a:prstGeom>
        </p:spPr>
        <p:txBody>
          <a:bodyPr vert="horz" lIns="91459" tIns="45730" rIns="91459" bIns="4573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CD19EE8-830D-43B1-845C-5B58F58145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587" y="9432766"/>
            <a:ext cx="2947089" cy="497047"/>
          </a:xfrm>
          <a:prstGeom prst="rect">
            <a:avLst/>
          </a:prstGeom>
        </p:spPr>
        <p:txBody>
          <a:bodyPr vert="horz" lIns="91459" tIns="45730" rIns="91459" bIns="45730" rtlCol="0" anchor="b"/>
          <a:lstStyle>
            <a:lvl1pPr algn="r">
              <a:defRPr sz="1200"/>
            </a:lvl1pPr>
          </a:lstStyle>
          <a:p>
            <a:fld id="{DEF8071E-5DB5-4606-882A-09D1801210D9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226107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7" cy="496491"/>
          </a:xfrm>
          <a:prstGeom prst="rect">
            <a:avLst/>
          </a:prstGeom>
        </p:spPr>
        <p:txBody>
          <a:bodyPr vert="horz" lIns="91459" tIns="45730" rIns="91459" bIns="457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4" y="0"/>
            <a:ext cx="2946347" cy="496491"/>
          </a:xfrm>
          <a:prstGeom prst="rect">
            <a:avLst/>
          </a:prstGeom>
        </p:spPr>
        <p:txBody>
          <a:bodyPr vert="horz" lIns="91459" tIns="45730" rIns="91459" bIns="45730" rtlCol="0"/>
          <a:lstStyle>
            <a:lvl1pPr algn="r">
              <a:defRPr sz="1200"/>
            </a:lvl1pPr>
          </a:lstStyle>
          <a:p>
            <a:fld id="{03A1D146-B4E0-1741-B9EE-9789392EFCC4}" type="datetimeFigureOut">
              <a:rPr lang="en-US" smtClean="0"/>
              <a:t>6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5113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9" tIns="45730" rIns="91459" bIns="457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16662"/>
            <a:ext cx="5439410" cy="4468416"/>
          </a:xfrm>
          <a:prstGeom prst="rect">
            <a:avLst/>
          </a:prstGeom>
        </p:spPr>
        <p:txBody>
          <a:bodyPr vert="horz" lIns="91459" tIns="45730" rIns="91459" bIns="457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1599"/>
            <a:ext cx="2946347" cy="496491"/>
          </a:xfrm>
          <a:prstGeom prst="rect">
            <a:avLst/>
          </a:prstGeom>
        </p:spPr>
        <p:txBody>
          <a:bodyPr vert="horz" lIns="91459" tIns="45730" rIns="91459" bIns="457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4" y="9431599"/>
            <a:ext cx="2946347" cy="496491"/>
          </a:xfrm>
          <a:prstGeom prst="rect">
            <a:avLst/>
          </a:prstGeom>
        </p:spPr>
        <p:txBody>
          <a:bodyPr vert="horz" lIns="91459" tIns="45730" rIns="91459" bIns="45730" rtlCol="0" anchor="b"/>
          <a:lstStyle>
            <a:lvl1pPr algn="r">
              <a:defRPr sz="1200"/>
            </a:lvl1pPr>
          </a:lstStyle>
          <a:p>
            <a:fld id="{97863621-2E60-B848-8968-B0341E26A31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02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190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774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804707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91100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616983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821181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795228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917130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37899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111884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3412773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070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2108502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9975707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153132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24144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1232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432343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753079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594170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247533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520344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03771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60484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83428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753058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7314609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985455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6864316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614666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698135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1" y="1268759"/>
            <a:ext cx="2352260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8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0" y="4980565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1" y="4980565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3399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20311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>
            <a:extLst>
              <a:ext uri="{FF2B5EF4-FFF2-40B4-BE49-F238E27FC236}">
                <a16:creationId xmlns:a16="http://schemas.microsoft.com/office/drawing/2014/main" id="{BCA310DA-C3F6-4BA7-BD95-4E82232061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53" b="21502"/>
          <a:stretch/>
        </p:blipFill>
        <p:spPr>
          <a:xfrm>
            <a:off x="1" y="3429000"/>
            <a:ext cx="12192000" cy="3429000"/>
          </a:xfrm>
          <a:prstGeom prst="rect">
            <a:avLst/>
          </a:prstGeom>
        </p:spPr>
      </p:pic>
      <p:sp>
        <p:nvSpPr>
          <p:cNvPr id="20" name="Rectangle 4">
            <a:extLst>
              <a:ext uri="{FF2B5EF4-FFF2-40B4-BE49-F238E27FC236}">
                <a16:creationId xmlns:a16="http://schemas.microsoft.com/office/drawing/2014/main" id="{BA60193C-0142-4074-A63B-E29B6977E970}"/>
              </a:ext>
            </a:extLst>
          </p:cNvPr>
          <p:cNvSpPr/>
          <p:nvPr/>
        </p:nvSpPr>
        <p:spPr>
          <a:xfrm rot="10800000">
            <a:off x="-31651" y="5238747"/>
            <a:ext cx="10428557" cy="1143002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6609542D-121C-494D-929C-E235D2826809}"/>
              </a:ext>
            </a:extLst>
          </p:cNvPr>
          <p:cNvSpPr/>
          <p:nvPr/>
        </p:nvSpPr>
        <p:spPr>
          <a:xfrm rot="10800000">
            <a:off x="8669673" y="5238748"/>
            <a:ext cx="2521491" cy="927101"/>
          </a:xfrm>
          <a:prstGeom prst="parallelogram">
            <a:avLst>
              <a:gd name="adj" fmla="val 84479"/>
            </a:avLst>
          </a:pr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C338EDBE-1594-4902-8579-8FE784F0EC01}"/>
              </a:ext>
            </a:extLst>
          </p:cNvPr>
          <p:cNvSpPr/>
          <p:nvPr/>
        </p:nvSpPr>
        <p:spPr>
          <a:xfrm rot="10800000">
            <a:off x="7588154" y="5238749"/>
            <a:ext cx="3148084" cy="1143000"/>
          </a:xfrm>
          <a:prstGeom prst="parallelogram">
            <a:avLst>
              <a:gd name="adj" fmla="val 84479"/>
            </a:avLst>
          </a:prstGeom>
          <a:solidFill>
            <a:srgbClr val="004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4417" y="5353396"/>
            <a:ext cx="10943167" cy="400017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5350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892107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ck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/>
          <p:cNvSpPr txBox="1">
            <a:spLocks/>
          </p:cNvSpPr>
          <p:nvPr/>
        </p:nvSpPr>
        <p:spPr>
          <a:xfrm>
            <a:off x="640361" y="2204865"/>
            <a:ext cx="7055472" cy="95410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0" kern="1200" cap="none">
                <a:solidFill>
                  <a:schemeClr val="bg1"/>
                </a:solidFill>
                <a:latin typeface="Arial"/>
                <a:ea typeface="ＭＳ Ｐゴシック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2800" dirty="0"/>
              <a:t>Contact</a:t>
            </a:r>
            <a:r>
              <a:rPr lang="en-GB" sz="2800" baseline="0" dirty="0"/>
              <a:t> u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511417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4664284"/>
            <a:ext cx="12192000" cy="2221101"/>
          </a:xfrm>
          <a:prstGeom prst="rect">
            <a:avLst/>
          </a:prstGeom>
          <a:solidFill>
            <a:srgbClr val="481F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>
              <a:solidFill>
                <a:srgbClr val="586719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90066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F47C0B31-2486-4039-9056-06F1A5B4F0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47"/>
          <a:stretch/>
        </p:blipFill>
        <p:spPr>
          <a:xfrm>
            <a:off x="0" y="1268414"/>
            <a:ext cx="12192000" cy="426984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gradFill flip="none" rotWithShape="1">
            <a:gsLst>
              <a:gs pos="0">
                <a:srgbClr val="330033"/>
              </a:gs>
              <a:gs pos="34000">
                <a:srgbClr val="4B004B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ransition</a:t>
            </a:r>
          </a:p>
        </p:txBody>
      </p:sp>
    </p:spTree>
    <p:extLst>
      <p:ext uri="{BB962C8B-B14F-4D97-AF65-F5344CB8AC3E}">
        <p14:creationId xmlns:p14="http://schemas.microsoft.com/office/powerpoint/2010/main" val="33397280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5F005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5F005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2E00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6787344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004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55940" y="6498000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6DC06F6-4505-48E2-8EFD-4B834A33BC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68508" y="6560274"/>
            <a:ext cx="1296575" cy="23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3175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86B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86B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719F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751970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970E2DD-51C5-4571-A193-0CEDB82F78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7" b="25596"/>
          <a:stretch/>
        </p:blipFill>
        <p:spPr>
          <a:xfrm>
            <a:off x="0" y="1385456"/>
            <a:ext cx="12192000" cy="339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82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BF7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98922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86" name="Picture 38" descr="Resultado de imagen de CORPORATE">
            <a:extLst>
              <a:ext uri="{FF2B5EF4-FFF2-40B4-BE49-F238E27FC236}">
                <a16:creationId xmlns:a16="http://schemas.microsoft.com/office/drawing/2014/main" id="{A91F13C4-EFAD-4583-A3BF-CBFCC0F2F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250"/>
            <a:ext cx="12192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9C9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41151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BFB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9C9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8480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8295563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A2E9B44-9F83-47E1-BCEC-5E3C98F3AA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9" b="27841"/>
          <a:stretch/>
        </p:blipFill>
        <p:spPr>
          <a:xfrm>
            <a:off x="0" y="1314489"/>
            <a:ext cx="12192000" cy="3906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2C88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38671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339A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339A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2F8A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51884" y="6633396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3830B60-3FC2-4CEB-8CEC-2657251878CB}"/>
              </a:ext>
            </a:extLst>
          </p:cNvPr>
          <p:cNvSpPr txBox="1"/>
          <p:nvPr userDrawn="1"/>
        </p:nvSpPr>
        <p:spPr>
          <a:xfrm>
            <a:off x="2063718" y="6655349"/>
            <a:ext cx="26642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" sz="900" dirty="0">
                <a:solidFill>
                  <a:schemeClr val="accent6">
                    <a:lumMod val="50000"/>
                  </a:schemeClr>
                </a:solidFill>
              </a:rPr>
              <a:t>www.pkf-attest.e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9F65415-0FDA-4327-BBA1-E5E118B153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80576" y="47786"/>
            <a:ext cx="842583" cy="9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07193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8" name="Picture 4" descr="Resultado de imagen de MERCADOS FINANCIEROS">
            <a:extLst>
              <a:ext uri="{FF2B5EF4-FFF2-40B4-BE49-F238E27FC236}">
                <a16:creationId xmlns:a16="http://schemas.microsoft.com/office/drawing/2014/main" id="{1A24B279-DA6E-407A-B1F9-E02960A60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70295"/>
            <a:ext cx="12341755" cy="4628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4664195"/>
            <a:ext cx="12192000" cy="222110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66049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FF1D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FF1D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1495274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ágina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0"/>
          </p:nvPr>
        </p:nvSpPr>
        <p:spPr>
          <a:xfrm>
            <a:off x="300485" y="1"/>
            <a:ext cx="9406467" cy="617517"/>
          </a:xfrm>
          <a:prstGeom prst="rect">
            <a:avLst/>
          </a:prstGeom>
        </p:spPr>
        <p:txBody>
          <a:bodyPr anchor="ctr" anchorCtr="0"/>
          <a:lstStyle>
            <a:lvl1pPr>
              <a:buFontTx/>
              <a:buNone/>
              <a:defRPr sz="1800" cap="small" baseline="0">
                <a:solidFill>
                  <a:schemeClr val="bg1"/>
                </a:solidFill>
                <a:latin typeface="Verdana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Verdana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Verdana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Verdana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Verdana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10 Marcador de texto"/>
          <p:cNvSpPr>
            <a:spLocks noGrp="1"/>
          </p:cNvSpPr>
          <p:nvPr>
            <p:ph type="body" sz="quarter" idx="11"/>
          </p:nvPr>
        </p:nvSpPr>
        <p:spPr>
          <a:xfrm>
            <a:off x="0" y="855663"/>
            <a:ext cx="12192000" cy="5237162"/>
          </a:xfrm>
          <a:prstGeom prst="rect">
            <a:avLst/>
          </a:prstGeom>
        </p:spPr>
        <p:txBody>
          <a:bodyPr lIns="360000" tIns="72000" rIns="360000" bIns="72000"/>
          <a:lstStyle>
            <a:lvl1pPr marL="0" indent="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  <a:defRPr sz="1100">
                <a:latin typeface="Verdana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1027546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3 Conector recto"/>
          <p:cNvCxnSpPr/>
          <p:nvPr/>
        </p:nvCxnSpPr>
        <p:spPr>
          <a:xfrm>
            <a:off x="0" y="6356370"/>
            <a:ext cx="12192000" cy="1588"/>
          </a:xfrm>
          <a:prstGeom prst="line">
            <a:avLst/>
          </a:prstGeom>
          <a:ln w="31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609908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370763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250531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95196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932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29613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72271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85007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9308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60553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76288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04193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25948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2075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24390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3608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4008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82331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73366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13745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84322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71600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59008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7731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37192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7058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0037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5332736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642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>
            <a:extLst>
              <a:ext uri="{FF2B5EF4-FFF2-40B4-BE49-F238E27FC236}">
                <a16:creationId xmlns:a16="http://schemas.microsoft.com/office/drawing/2014/main" id="{BCA310DA-C3F6-4BA7-BD95-4E82232061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53" b="21502"/>
          <a:stretch/>
        </p:blipFill>
        <p:spPr>
          <a:xfrm>
            <a:off x="1" y="3429000"/>
            <a:ext cx="12192000" cy="3429000"/>
          </a:xfrm>
          <a:prstGeom prst="rect">
            <a:avLst/>
          </a:prstGeom>
        </p:spPr>
      </p:pic>
      <p:sp>
        <p:nvSpPr>
          <p:cNvPr id="20" name="Rectangle 4">
            <a:extLst>
              <a:ext uri="{FF2B5EF4-FFF2-40B4-BE49-F238E27FC236}">
                <a16:creationId xmlns:a16="http://schemas.microsoft.com/office/drawing/2014/main" id="{BA60193C-0142-4074-A63B-E29B6977E970}"/>
              </a:ext>
            </a:extLst>
          </p:cNvPr>
          <p:cNvSpPr/>
          <p:nvPr/>
        </p:nvSpPr>
        <p:spPr>
          <a:xfrm rot="10800000">
            <a:off x="-31651" y="5238747"/>
            <a:ext cx="10428557" cy="1143002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6609542D-121C-494D-929C-E235D2826809}"/>
              </a:ext>
            </a:extLst>
          </p:cNvPr>
          <p:cNvSpPr/>
          <p:nvPr/>
        </p:nvSpPr>
        <p:spPr>
          <a:xfrm rot="10800000">
            <a:off x="8669673" y="5238748"/>
            <a:ext cx="2521491" cy="927101"/>
          </a:xfrm>
          <a:prstGeom prst="parallelogram">
            <a:avLst>
              <a:gd name="adj" fmla="val 84479"/>
            </a:avLst>
          </a:pr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C338EDBE-1594-4902-8579-8FE784F0EC01}"/>
              </a:ext>
            </a:extLst>
          </p:cNvPr>
          <p:cNvSpPr/>
          <p:nvPr/>
        </p:nvSpPr>
        <p:spPr>
          <a:xfrm rot="10800000">
            <a:off x="7588154" y="5238749"/>
            <a:ext cx="3148084" cy="1143000"/>
          </a:xfrm>
          <a:prstGeom prst="parallelogram">
            <a:avLst>
              <a:gd name="adj" fmla="val 84479"/>
            </a:avLst>
          </a:prstGeom>
          <a:solidFill>
            <a:srgbClr val="004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4417" y="5353396"/>
            <a:ext cx="10943167" cy="400017"/>
          </a:xfrm>
        </p:spPr>
        <p:txBody>
          <a:bodyPr anchor="t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24403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ck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4"/>
          <p:cNvSpPr txBox="1">
            <a:spLocks/>
          </p:cNvSpPr>
          <p:nvPr/>
        </p:nvSpPr>
        <p:spPr>
          <a:xfrm>
            <a:off x="640361" y="2204865"/>
            <a:ext cx="7055472" cy="954107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0" kern="1200" cap="none">
                <a:solidFill>
                  <a:schemeClr val="bg1"/>
                </a:solidFill>
                <a:latin typeface="Arial"/>
                <a:ea typeface="ＭＳ Ｐゴシック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2563A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GB" sz="2800" dirty="0"/>
              <a:t>Contact</a:t>
            </a:r>
            <a:r>
              <a:rPr lang="en-GB" sz="2800" baseline="0" dirty="0"/>
              <a:t> u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2444455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4664284"/>
            <a:ext cx="12192000" cy="2221101"/>
          </a:xfrm>
          <a:prstGeom prst="rect">
            <a:avLst/>
          </a:prstGeom>
          <a:solidFill>
            <a:srgbClr val="481F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>
              <a:solidFill>
                <a:srgbClr val="586719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641578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F47C0B31-2486-4039-9056-06F1A5B4F05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47"/>
          <a:stretch/>
        </p:blipFill>
        <p:spPr>
          <a:xfrm>
            <a:off x="0" y="1268414"/>
            <a:ext cx="12192000" cy="426984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gradFill flip="none" rotWithShape="1">
            <a:gsLst>
              <a:gs pos="0">
                <a:srgbClr val="330033"/>
              </a:gs>
              <a:gs pos="34000">
                <a:srgbClr val="4B004B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ransition</a:t>
            </a:r>
          </a:p>
        </p:txBody>
      </p:sp>
    </p:spTree>
    <p:extLst>
      <p:ext uri="{BB962C8B-B14F-4D97-AF65-F5344CB8AC3E}">
        <p14:creationId xmlns:p14="http://schemas.microsoft.com/office/powerpoint/2010/main" val="259955311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5F005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5F005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2E00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175631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0059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004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55940" y="6498000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6DC06F6-4505-48E2-8EFD-4B834A33BC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68508" y="6560274"/>
            <a:ext cx="1296575" cy="23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05848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86B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86BE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719F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31574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970E2DD-51C5-4571-A193-0CEDB82F78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7" b="25596"/>
          <a:stretch/>
        </p:blipFill>
        <p:spPr>
          <a:xfrm>
            <a:off x="0" y="1385456"/>
            <a:ext cx="12192000" cy="339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079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D895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BF7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816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31373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86" name="Picture 38" descr="Resultado de imagen de CORPORATE">
            <a:extLst>
              <a:ext uri="{FF2B5EF4-FFF2-40B4-BE49-F238E27FC236}">
                <a16:creationId xmlns:a16="http://schemas.microsoft.com/office/drawing/2014/main" id="{A91F13C4-EFAD-4583-A3BF-CBFCC0F2F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7250"/>
            <a:ext cx="12192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9C9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27901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BFB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9C9C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7009" y="6568928"/>
            <a:ext cx="9120000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86707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AA2E9B44-9F83-47E1-BCEC-5E3C98F3AA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9" b="27841"/>
          <a:stretch/>
        </p:blipFill>
        <p:spPr>
          <a:xfrm>
            <a:off x="0" y="1314489"/>
            <a:ext cx="12192000" cy="3906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4636900"/>
            <a:ext cx="12192000" cy="2221101"/>
          </a:xfrm>
          <a:prstGeom prst="rect">
            <a:avLst/>
          </a:prstGeom>
          <a:solidFill>
            <a:srgbClr val="2C88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233565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Image Content Chapter Hea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8" name="Picture 4" descr="Resultado de imagen de MERCADOS FINANCIEROS">
            <a:extLst>
              <a:ext uri="{FF2B5EF4-FFF2-40B4-BE49-F238E27FC236}">
                <a16:creationId xmlns:a16="http://schemas.microsoft.com/office/drawing/2014/main" id="{1A24B279-DA6E-407A-B1F9-E02960A60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70295"/>
            <a:ext cx="12341755" cy="4628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0" y="4664195"/>
            <a:ext cx="12192000" cy="222110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48237" y="5375261"/>
            <a:ext cx="6841420" cy="42319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lnSpc>
                <a:spcPts val="3340"/>
              </a:lnSpc>
              <a:buNone/>
              <a:defRPr sz="2800" spc="-7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946661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ext 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rot="10800000">
            <a:off x="-13036" y="-2"/>
            <a:ext cx="10428557" cy="800709"/>
          </a:xfrm>
          <a:custGeom>
            <a:avLst/>
            <a:gdLst>
              <a:gd name="connsiteX0" fmla="*/ 0 w 8568234"/>
              <a:gd name="connsiteY0" fmla="*/ 800709 h 800709"/>
              <a:gd name="connsiteX1" fmla="*/ 676431 w 8568234"/>
              <a:gd name="connsiteY1" fmla="*/ 0 h 800709"/>
              <a:gd name="connsiteX2" fmla="*/ 8568234 w 8568234"/>
              <a:gd name="connsiteY2" fmla="*/ 0 h 800709"/>
              <a:gd name="connsiteX3" fmla="*/ 7891803 w 8568234"/>
              <a:gd name="connsiteY3" fmla="*/ 800709 h 800709"/>
              <a:gd name="connsiteX4" fmla="*/ 0 w 8568234"/>
              <a:gd name="connsiteY4" fmla="*/ 800709 h 800709"/>
              <a:gd name="connsiteX0" fmla="*/ 0 w 7911009"/>
              <a:gd name="connsiteY0" fmla="*/ 800709 h 800709"/>
              <a:gd name="connsiteX1" fmla="*/ 676431 w 7911009"/>
              <a:gd name="connsiteY1" fmla="*/ 0 h 800709"/>
              <a:gd name="connsiteX2" fmla="*/ 7911009 w 7911009"/>
              <a:gd name="connsiteY2" fmla="*/ 9525 h 800709"/>
              <a:gd name="connsiteX3" fmla="*/ 7891803 w 7911009"/>
              <a:gd name="connsiteY3" fmla="*/ 800709 h 800709"/>
              <a:gd name="connsiteX4" fmla="*/ 0 w 7911009"/>
              <a:gd name="connsiteY4" fmla="*/ 800709 h 800709"/>
              <a:gd name="connsiteX0" fmla="*/ 0 w 7891803"/>
              <a:gd name="connsiteY0" fmla="*/ 800709 h 800709"/>
              <a:gd name="connsiteX1" fmla="*/ 676431 w 7891803"/>
              <a:gd name="connsiteY1" fmla="*/ 0 h 800709"/>
              <a:gd name="connsiteX2" fmla="*/ 7882434 w 7891803"/>
              <a:gd name="connsiteY2" fmla="*/ 9525 h 800709"/>
              <a:gd name="connsiteX3" fmla="*/ 7891803 w 7891803"/>
              <a:gd name="connsiteY3" fmla="*/ 800709 h 800709"/>
              <a:gd name="connsiteX4" fmla="*/ 0 w 7891803"/>
              <a:gd name="connsiteY4" fmla="*/ 800709 h 800709"/>
              <a:gd name="connsiteX0" fmla="*/ 0 w 7901679"/>
              <a:gd name="connsiteY0" fmla="*/ 800709 h 800709"/>
              <a:gd name="connsiteX1" fmla="*/ 676431 w 7901679"/>
              <a:gd name="connsiteY1" fmla="*/ 0 h 800709"/>
              <a:gd name="connsiteX2" fmla="*/ 7901679 w 7901679"/>
              <a:gd name="connsiteY2" fmla="*/ 9525 h 800709"/>
              <a:gd name="connsiteX3" fmla="*/ 7891803 w 7901679"/>
              <a:gd name="connsiteY3" fmla="*/ 800709 h 800709"/>
              <a:gd name="connsiteX4" fmla="*/ 0 w 7901679"/>
              <a:gd name="connsiteY4" fmla="*/ 800709 h 80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79" h="800709">
                <a:moveTo>
                  <a:pt x="0" y="800709"/>
                </a:moveTo>
                <a:lnTo>
                  <a:pt x="676431" y="0"/>
                </a:lnTo>
                <a:lnTo>
                  <a:pt x="7901679" y="9525"/>
                </a:lnTo>
                <a:lnTo>
                  <a:pt x="7891803" y="800709"/>
                </a:lnTo>
                <a:lnTo>
                  <a:pt x="0" y="800709"/>
                </a:lnTo>
                <a:close/>
              </a:path>
            </a:pathLst>
          </a:custGeom>
          <a:solidFill>
            <a:srgbClr val="FF1D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0587" y="1992239"/>
            <a:ext cx="10972800" cy="4327581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2A89B4"/>
              </a:buClr>
              <a:buFont typeface="Arial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>
              <a:buClr>
                <a:srgbClr val="2A89B4"/>
              </a:buClr>
              <a:buFont typeface="Arial"/>
              <a:buChar char="–"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buClr>
                <a:srgbClr val="2A89B4"/>
              </a:buClr>
              <a:buFont typeface="Arial"/>
              <a:buChar char="•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buClr>
                <a:srgbClr val="2A89B4"/>
              </a:buClr>
              <a:buFont typeface="Arial"/>
              <a:buChar char="–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buClr>
                <a:srgbClr val="2A89B4"/>
              </a:buClr>
              <a:buFont typeface="Arial"/>
              <a:buChar char="»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itle 8"/>
          <p:cNvSpPr>
            <a:spLocks noGrp="1"/>
          </p:cNvSpPr>
          <p:nvPr>
            <p:ph type="title" hasCustomPrompt="1"/>
          </p:nvPr>
        </p:nvSpPr>
        <p:spPr>
          <a:xfrm>
            <a:off x="460587" y="1056938"/>
            <a:ext cx="10972800" cy="643361"/>
          </a:xfrm>
          <a:prstGeom prst="rect">
            <a:avLst/>
          </a:prstGeom>
          <a:ln>
            <a:noFill/>
          </a:ln>
        </p:spPr>
        <p:txBody>
          <a:bodyPr vert="horz" anchor="ctr" anchorCtr="0"/>
          <a:lstStyle>
            <a:lvl1pPr>
              <a:defRPr sz="22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Rectangle 4"/>
          <p:cNvSpPr/>
          <p:nvPr/>
        </p:nvSpPr>
        <p:spPr>
          <a:xfrm rot="10800000">
            <a:off x="8688288" y="-1"/>
            <a:ext cx="2218467" cy="629309"/>
          </a:xfrm>
          <a:prstGeom prst="parallelogram">
            <a:avLst>
              <a:gd name="adj" fmla="val 84479"/>
            </a:avLst>
          </a:prstGeom>
          <a:solidFill>
            <a:srgbClr val="FF1D1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4"/>
          <p:cNvSpPr/>
          <p:nvPr/>
        </p:nvSpPr>
        <p:spPr>
          <a:xfrm rot="10800000">
            <a:off x="8197056" y="1"/>
            <a:ext cx="2218467" cy="800709"/>
          </a:xfrm>
          <a:prstGeom prst="parallelogram">
            <a:avLst>
              <a:gd name="adj" fmla="val 84479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0003522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ágina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0"/>
          </p:nvPr>
        </p:nvSpPr>
        <p:spPr>
          <a:xfrm>
            <a:off x="300485" y="1"/>
            <a:ext cx="9406467" cy="617517"/>
          </a:xfrm>
          <a:prstGeom prst="rect">
            <a:avLst/>
          </a:prstGeom>
        </p:spPr>
        <p:txBody>
          <a:bodyPr anchor="ctr" anchorCtr="0"/>
          <a:lstStyle>
            <a:lvl1pPr>
              <a:buFontTx/>
              <a:buNone/>
              <a:defRPr sz="1800" cap="small" baseline="0">
                <a:solidFill>
                  <a:schemeClr val="bg1"/>
                </a:solidFill>
                <a:latin typeface="Verdana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Verdana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Verdana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Verdana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Verdana" pitchFamily="34" charset="0"/>
              </a:defRPr>
            </a:lvl5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11" name="10 Marcador de texto"/>
          <p:cNvSpPr>
            <a:spLocks noGrp="1"/>
          </p:cNvSpPr>
          <p:nvPr>
            <p:ph type="body" sz="quarter" idx="11"/>
          </p:nvPr>
        </p:nvSpPr>
        <p:spPr>
          <a:xfrm>
            <a:off x="0" y="855663"/>
            <a:ext cx="12192000" cy="5237162"/>
          </a:xfrm>
          <a:prstGeom prst="rect">
            <a:avLst/>
          </a:prstGeom>
        </p:spPr>
        <p:txBody>
          <a:bodyPr lIns="360000" tIns="72000" rIns="360000" bIns="72000"/>
          <a:lstStyle>
            <a:lvl1pPr marL="0" indent="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None/>
              <a:defRPr sz="1100">
                <a:latin typeface="Verdana" pitchFamily="34" charset="0"/>
              </a:defRPr>
            </a:lvl1pPr>
          </a:lstStyle>
          <a:p>
            <a:pPr lvl="0"/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125554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3 Conector recto"/>
          <p:cNvCxnSpPr/>
          <p:nvPr/>
        </p:nvCxnSpPr>
        <p:spPr>
          <a:xfrm>
            <a:off x="0" y="6356370"/>
            <a:ext cx="12192000" cy="1588"/>
          </a:xfrm>
          <a:prstGeom prst="line">
            <a:avLst/>
          </a:prstGeom>
          <a:ln w="31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732121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90875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006895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310693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25568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2218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0460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229483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4678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8442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2205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35008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18274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5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23911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9585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3288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5048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31908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2028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0598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823595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187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425056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727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773506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186389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567812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732196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3842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99841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697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278332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143470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050622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59233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401298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180463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26958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1757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59950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14737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578702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407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4324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966086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90568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595403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057337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17538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779711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3866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835854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410206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990389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914444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52123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11864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50370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8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0" y="4980565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1" y="4980565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0141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6012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4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639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2391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21774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7126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168652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052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570965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096003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1573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3161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973363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374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869317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203182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2476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31977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3763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75276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12914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469964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42760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300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01043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41462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553326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408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7715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935808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9035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653378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80908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414895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1442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5701288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29477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18238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84466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53" Type="http://schemas.openxmlformats.org/officeDocument/2006/relationships/slideLayout" Target="../slideLayouts/slideLayout122.xml"/><Relationship Id="rId58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60" Type="http://schemas.openxmlformats.org/officeDocument/2006/relationships/theme" Target="../theme/theme2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7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140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  <p:sldLayoutId id="2147483924" r:id="rId26"/>
    <p:sldLayoutId id="2147483925" r:id="rId27"/>
    <p:sldLayoutId id="2147483926" r:id="rId28"/>
    <p:sldLayoutId id="2147483927" r:id="rId29"/>
    <p:sldLayoutId id="2147483928" r:id="rId30"/>
    <p:sldLayoutId id="2147483929" r:id="rId31"/>
    <p:sldLayoutId id="2147483930" r:id="rId32"/>
    <p:sldLayoutId id="2147483931" r:id="rId33"/>
    <p:sldLayoutId id="2147483932" r:id="rId34"/>
    <p:sldLayoutId id="2147483933" r:id="rId35"/>
    <p:sldLayoutId id="2147483934" r:id="rId36"/>
    <p:sldLayoutId id="2147483935" r:id="rId37"/>
    <p:sldLayoutId id="2147483936" r:id="rId38"/>
    <p:sldLayoutId id="2147483937" r:id="rId39"/>
    <p:sldLayoutId id="2147483938" r:id="rId40"/>
    <p:sldLayoutId id="2147483939" r:id="rId41"/>
    <p:sldLayoutId id="2147483940" r:id="rId42"/>
    <p:sldLayoutId id="2147483941" r:id="rId43"/>
    <p:sldLayoutId id="2147483942" r:id="rId44"/>
    <p:sldLayoutId id="2147483943" r:id="rId45"/>
    <p:sldLayoutId id="2147483944" r:id="rId46"/>
    <p:sldLayoutId id="2147483945" r:id="rId47"/>
    <p:sldLayoutId id="2147483946" r:id="rId48"/>
    <p:sldLayoutId id="2147483947" r:id="rId49"/>
    <p:sldLayoutId id="2147483948" r:id="rId50"/>
    <p:sldLayoutId id="2147483949" r:id="rId51"/>
    <p:sldLayoutId id="2147483950" r:id="rId52"/>
    <p:sldLayoutId id="2147483951" r:id="rId53"/>
    <p:sldLayoutId id="2147483952" r:id="rId54"/>
    <p:sldLayoutId id="2147483953" r:id="rId55"/>
    <p:sldLayoutId id="2147483954" r:id="rId56"/>
    <p:sldLayoutId id="2147483955" r:id="rId57"/>
    <p:sldLayoutId id="2147483956" r:id="rId58"/>
    <p:sldLayoutId id="2147483957" r:id="rId59"/>
    <p:sldLayoutId id="2147483958" r:id="rId60"/>
    <p:sldLayoutId id="2147483959" r:id="rId61"/>
    <p:sldLayoutId id="2147483960" r:id="rId62"/>
    <p:sldLayoutId id="2147483961" r:id="rId63"/>
    <p:sldLayoutId id="2147483962" r:id="rId64"/>
    <p:sldLayoutId id="2147483963" r:id="rId65"/>
    <p:sldLayoutId id="2147483964" r:id="rId66"/>
    <p:sldLayoutId id="2147483965" r:id="rId67"/>
    <p:sldLayoutId id="2147483966" r:id="rId68"/>
    <p:sldLayoutId id="2147483967" r:id="rId69"/>
  </p:sldLayoutIdLst>
  <p:hf hdr="0" ftr="0" dt="0"/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001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  <p:sldLayoutId id="2147483982" r:id="rId14"/>
    <p:sldLayoutId id="2147483983" r:id="rId15"/>
    <p:sldLayoutId id="2147483984" r:id="rId16"/>
    <p:sldLayoutId id="2147483985" r:id="rId17"/>
    <p:sldLayoutId id="2147483986" r:id="rId18"/>
    <p:sldLayoutId id="2147483987" r:id="rId19"/>
    <p:sldLayoutId id="2147483988" r:id="rId20"/>
    <p:sldLayoutId id="2147483989" r:id="rId21"/>
    <p:sldLayoutId id="2147483990" r:id="rId22"/>
    <p:sldLayoutId id="2147483991" r:id="rId23"/>
    <p:sldLayoutId id="2147483992" r:id="rId24"/>
    <p:sldLayoutId id="2147483993" r:id="rId25"/>
    <p:sldLayoutId id="2147483994" r:id="rId26"/>
    <p:sldLayoutId id="2147483995" r:id="rId27"/>
    <p:sldLayoutId id="2147483996" r:id="rId28"/>
    <p:sldLayoutId id="2147483997" r:id="rId29"/>
    <p:sldLayoutId id="2147483998" r:id="rId30"/>
    <p:sldLayoutId id="2147483999" r:id="rId31"/>
    <p:sldLayoutId id="2147484000" r:id="rId32"/>
    <p:sldLayoutId id="2147484001" r:id="rId33"/>
    <p:sldLayoutId id="2147484002" r:id="rId34"/>
    <p:sldLayoutId id="2147484003" r:id="rId35"/>
    <p:sldLayoutId id="2147484004" r:id="rId36"/>
    <p:sldLayoutId id="2147484005" r:id="rId37"/>
    <p:sldLayoutId id="2147484006" r:id="rId38"/>
    <p:sldLayoutId id="2147484007" r:id="rId39"/>
    <p:sldLayoutId id="2147484008" r:id="rId40"/>
    <p:sldLayoutId id="2147484009" r:id="rId41"/>
    <p:sldLayoutId id="2147484010" r:id="rId42"/>
    <p:sldLayoutId id="2147484011" r:id="rId43"/>
    <p:sldLayoutId id="2147484012" r:id="rId44"/>
    <p:sldLayoutId id="2147484013" r:id="rId45"/>
    <p:sldLayoutId id="2147484014" r:id="rId46"/>
    <p:sldLayoutId id="2147484015" r:id="rId47"/>
    <p:sldLayoutId id="2147484016" r:id="rId48"/>
    <p:sldLayoutId id="2147484017" r:id="rId49"/>
    <p:sldLayoutId id="2147484018" r:id="rId50"/>
    <p:sldLayoutId id="2147484019" r:id="rId51"/>
    <p:sldLayoutId id="2147484020" r:id="rId52"/>
    <p:sldLayoutId id="2147484021" r:id="rId53"/>
    <p:sldLayoutId id="2147484022" r:id="rId54"/>
    <p:sldLayoutId id="2147484023" r:id="rId55"/>
    <p:sldLayoutId id="2147484024" r:id="rId56"/>
    <p:sldLayoutId id="2147484025" r:id="rId57"/>
    <p:sldLayoutId id="2147484026" r:id="rId58"/>
    <p:sldLayoutId id="2147484027" r:id="rId59"/>
  </p:sldLayoutIdLst>
  <p:hf hdr="0" ftr="0" dt="0"/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315409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418" y="497339"/>
            <a:ext cx="9600041" cy="777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le 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418" y="1275286"/>
            <a:ext cx="10943167" cy="48905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70C1F07-3BC8-4439-8836-400A7DF92D5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728986" y="6477411"/>
            <a:ext cx="972108" cy="38058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1344" y="6293709"/>
            <a:ext cx="9120000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 dirty="0"/>
          </a:p>
        </p:txBody>
      </p:sp>
      <p:cxnSp>
        <p:nvCxnSpPr>
          <p:cNvPr id="8" name="Gerade Verbindung 8"/>
          <p:cNvCxnSpPr/>
          <p:nvPr/>
        </p:nvCxnSpPr>
        <p:spPr>
          <a:xfrm>
            <a:off x="0" y="6477104"/>
            <a:ext cx="12192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147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5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9" r:id="rId18"/>
    <p:sldLayoutId id="214748411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10000"/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5738" algn="l" defTabSz="914400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295">
          <p15:clr>
            <a:srgbClr val="F26B43"/>
          </p15:clr>
        </p15:guide>
        <p15:guide id="4" pos="1837">
          <p15:clr>
            <a:srgbClr val="F26B43"/>
          </p15:clr>
        </p15:guide>
        <p15:guide id="6" pos="5465">
          <p15:clr>
            <a:srgbClr val="F26B43"/>
          </p15:clr>
        </p15:guide>
        <p15:guide id="7" orient="horz" pos="164">
          <p15:clr>
            <a:srgbClr val="F26B43"/>
          </p15:clr>
        </p15:guide>
        <p15:guide id="8" orient="horz" pos="799">
          <p15:clr>
            <a:srgbClr val="F26B43"/>
          </p15:clr>
        </p15:guide>
        <p15:guide id="9" orient="horz" pos="3884">
          <p15:clr>
            <a:srgbClr val="F26B43"/>
          </p15:clr>
        </p15:guide>
        <p15:guide id="10" orient="horz" pos="40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8484CA-2A5D-4011-95D2-1A85AD0B098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719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42F90-C5F0-4BB0-9382-5C9F527B73BC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43F252D-0EFC-43CB-8B42-88172CFEB54E}"/>
              </a:ext>
            </a:extLst>
          </p:cNvPr>
          <p:cNvSpPr txBox="1"/>
          <p:nvPr userDrawn="1"/>
        </p:nvSpPr>
        <p:spPr>
          <a:xfrm>
            <a:off x="7536160" y="6597208"/>
            <a:ext cx="43924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s-ES" sz="1000" dirty="0"/>
              <a:t>Presentación de servicios de Auditoría</a:t>
            </a:r>
          </a:p>
        </p:txBody>
      </p:sp>
    </p:spTree>
    <p:extLst>
      <p:ext uri="{BB962C8B-B14F-4D97-AF65-F5344CB8AC3E}">
        <p14:creationId xmlns:p14="http://schemas.microsoft.com/office/powerpoint/2010/main" val="364001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418" y="497339"/>
            <a:ext cx="9600041" cy="777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le 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418" y="1275286"/>
            <a:ext cx="10943167" cy="48905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68342" y="6568928"/>
            <a:ext cx="1056117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70C1F07-3BC8-4439-8836-400A7DF92D5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728986" y="6477411"/>
            <a:ext cx="972108" cy="38058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9356" y="6487705"/>
            <a:ext cx="9120000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8449" y="6568928"/>
            <a:ext cx="1440492" cy="36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72542EF5-889D-4CB8-B44A-25ED68F09654}" type="slidenum">
              <a:rPr lang="de-DE" smtClean="0"/>
              <a:pPr/>
              <a:t>‹Nº›</a:t>
            </a:fld>
            <a:endParaRPr lang="de-DE" dirty="0"/>
          </a:p>
        </p:txBody>
      </p:sp>
      <p:cxnSp>
        <p:nvCxnSpPr>
          <p:cNvPr id="8" name="Gerade Verbindung 8"/>
          <p:cNvCxnSpPr/>
          <p:nvPr/>
        </p:nvCxnSpPr>
        <p:spPr>
          <a:xfrm>
            <a:off x="0" y="6477104"/>
            <a:ext cx="12192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820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tx2"/>
        </a:buClr>
        <a:buSzPct val="110000"/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5738" algn="l" defTabSz="914400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3038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42925" indent="-184150" algn="l" defTabSz="914400" rtl="0" eaLnBrk="1" latinLnBrk="0" hangingPunct="1">
        <a:lnSpc>
          <a:spcPct val="100000"/>
        </a:lnSpc>
        <a:spcBef>
          <a:spcPts val="400"/>
        </a:spcBef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295">
          <p15:clr>
            <a:srgbClr val="F26B43"/>
          </p15:clr>
        </p15:guide>
        <p15:guide id="4" pos="1837">
          <p15:clr>
            <a:srgbClr val="F26B43"/>
          </p15:clr>
        </p15:guide>
        <p15:guide id="6" pos="5465">
          <p15:clr>
            <a:srgbClr val="F26B43"/>
          </p15:clr>
        </p15:guide>
        <p15:guide id="7" orient="horz" pos="164">
          <p15:clr>
            <a:srgbClr val="F26B43"/>
          </p15:clr>
        </p15:guide>
        <p15:guide id="8" orient="horz" pos="799">
          <p15:clr>
            <a:srgbClr val="F26B43"/>
          </p15:clr>
        </p15:guide>
        <p15:guide id="9" orient="horz" pos="3884">
          <p15:clr>
            <a:srgbClr val="F26B43"/>
          </p15:clr>
        </p15:guide>
        <p15:guide id="10" orient="horz" pos="4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8FD7AE8-CEBB-4132-B977-CCBC388A5EE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8354" y="4984018"/>
            <a:ext cx="11328246" cy="425758"/>
          </a:xfrm>
        </p:spPr>
        <p:txBody>
          <a:bodyPr/>
          <a:lstStyle/>
          <a:p>
            <a:pPr>
              <a:spcBef>
                <a:spcPts val="2400"/>
              </a:spcBef>
            </a:pPr>
            <a:r>
              <a:rPr lang="es-ES" sz="32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D66740F-72FB-4108-A0F2-0190B7A228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8931" y="5815825"/>
            <a:ext cx="1697729" cy="1200703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472986-80E5-4F9C-B490-3C7E3861A6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0576" y="47786"/>
            <a:ext cx="842583" cy="92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455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F9E5666-A6B7-404C-BF4F-873B878F55D5}"/>
              </a:ext>
            </a:extLst>
          </p:cNvPr>
          <p:cNvSpPr txBox="1"/>
          <p:nvPr/>
        </p:nvSpPr>
        <p:spPr>
          <a:xfrm>
            <a:off x="631875" y="1803884"/>
            <a:ext cx="10972800" cy="3030617"/>
          </a:xfrm>
          <a:prstGeom prst="round2Diag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ES" sz="2800" dirty="0">
                <a:solidFill>
                  <a:schemeClr val="accent1"/>
                </a:solidFill>
                <a:latin typeface="+mj-lt"/>
              </a:rPr>
              <a:t>Misión</a:t>
            </a:r>
          </a:p>
          <a:p>
            <a:pPr algn="just"/>
            <a:endParaRPr lang="es-ES" sz="1800" dirty="0">
              <a:solidFill>
                <a:schemeClr val="accent1"/>
              </a:solidFill>
              <a:latin typeface="+mj-lt"/>
            </a:endParaRPr>
          </a:p>
          <a:p>
            <a:pPr algn="just"/>
            <a:r>
              <a:rPr lang="es-ES" sz="1800" dirty="0">
                <a:solidFill>
                  <a:schemeClr val="accent1"/>
                </a:solidFill>
                <a:latin typeface="+mj-lt"/>
              </a:rPr>
              <a:t>LA MISIÓN </a:t>
            </a:r>
            <a:r>
              <a:rPr lang="es-ES" sz="1800" dirty="0">
                <a:latin typeface="+mj-lt"/>
              </a:rPr>
              <a:t>de Euskadiko Kirol Portuak, EPDP es planificar, gestionar y promover puertos e instalaciones náuticas de recreo de Euskadi; ofreciendo amarres, instalaciones y servicios complementarios adecuados; bajo los criterios de transparencia, eficiencia, eficacia, calidad, sostenibilidad e igualdad; procurando la accesibilidad universal, y buscando el equilibrio y convivencia de todas las personas titulares de las autorizaciones (amarres e instalaciones) y la ciudadanía en general, facilitando la integración puerto-ciudad; para contribuir al desarrollo de la náutica de recreo, y con ello, al desarrollo social y económico de nuestro entorno.</a:t>
            </a:r>
          </a:p>
        </p:txBody>
      </p:sp>
    </p:spTree>
    <p:extLst>
      <p:ext uri="{BB962C8B-B14F-4D97-AF65-F5344CB8AC3E}">
        <p14:creationId xmlns:p14="http://schemas.microsoft.com/office/powerpoint/2010/main" val="2730479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5428D6C-33F0-4E8D-8D1B-3957BF00BE85}"/>
              </a:ext>
            </a:extLst>
          </p:cNvPr>
          <p:cNvSpPr txBox="1"/>
          <p:nvPr/>
        </p:nvSpPr>
        <p:spPr>
          <a:xfrm>
            <a:off x="640998" y="1803884"/>
            <a:ext cx="10927609" cy="3030617"/>
          </a:xfrm>
          <a:prstGeom prst="round2Diag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ES" sz="2800" dirty="0">
                <a:solidFill>
                  <a:schemeClr val="accent1"/>
                </a:solidFill>
                <a:latin typeface="+mj-lt"/>
              </a:rPr>
              <a:t>Visión</a:t>
            </a:r>
          </a:p>
          <a:p>
            <a:pPr algn="just"/>
            <a:endParaRPr lang="es-ES" sz="1800" dirty="0">
              <a:solidFill>
                <a:schemeClr val="accent1"/>
              </a:solidFill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Consolidar un modelo vasco de gestión portuaria que sea referente desde las ópticas de entidades gestoras portuarias y de las personas usuarias. (nos miran, nos preguntan, nos estudian…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800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Colaborar en la consolidación y desarrollo del sector de la náutica de recreo de Euskadi y su futuro en coordinación con el Gobierno Vasco y las entidades locales y transfronterizas, tanto públicas como privadas.</a:t>
            </a:r>
          </a:p>
          <a:p>
            <a:pPr algn="just"/>
            <a:endParaRPr lang="es-ES" sz="1800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4034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9F6AE5B-533E-F0B9-305F-C2A8BD2C4B49}"/>
              </a:ext>
            </a:extLst>
          </p:cNvPr>
          <p:cNvSpPr txBox="1"/>
          <p:nvPr/>
        </p:nvSpPr>
        <p:spPr>
          <a:xfrm>
            <a:off x="651269" y="1803884"/>
            <a:ext cx="10917338" cy="3337084"/>
          </a:xfrm>
          <a:prstGeom prst="round2Diag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ES" sz="2800" dirty="0">
                <a:solidFill>
                  <a:schemeClr val="accent1"/>
                </a:solidFill>
                <a:latin typeface="+mj-lt"/>
              </a:rPr>
              <a:t>Valores</a:t>
            </a:r>
          </a:p>
          <a:p>
            <a:pPr algn="just"/>
            <a:endParaRPr lang="es-ES" sz="1800" dirty="0">
              <a:solidFill>
                <a:schemeClr val="accent1"/>
              </a:solidFill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Profesionalidad: característica de la persona que desempeña un trabajo con pericia, aplicación, seriedad, honradez y eficacia y eficienci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800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Satisfacción a la clientel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800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Responsabilidad social, respeto al medio ambiente e igualdad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800" dirty="0">
              <a:latin typeface="+mj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800" dirty="0">
                <a:latin typeface="+mj-lt"/>
              </a:rPr>
              <a:t>Transparencia en la gestión, comunicación e información.</a:t>
            </a:r>
          </a:p>
        </p:txBody>
      </p:sp>
    </p:spTree>
    <p:extLst>
      <p:ext uri="{BB962C8B-B14F-4D97-AF65-F5344CB8AC3E}">
        <p14:creationId xmlns:p14="http://schemas.microsoft.com/office/powerpoint/2010/main" val="1512498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BACBA26C-16FC-0007-AA72-1650B41C1B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0530388"/>
              </p:ext>
            </p:extLst>
          </p:nvPr>
        </p:nvGraphicFramePr>
        <p:xfrm>
          <a:off x="2032000" y="100536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CuadroTexto 12">
            <a:extLst>
              <a:ext uri="{FF2B5EF4-FFF2-40B4-BE49-F238E27FC236}">
                <a16:creationId xmlns:a16="http://schemas.microsoft.com/office/drawing/2014/main" id="{8951DCC0-39E7-B46A-C4C2-54187C589FC7}"/>
              </a:ext>
            </a:extLst>
          </p:cNvPr>
          <p:cNvSpPr txBox="1"/>
          <p:nvPr/>
        </p:nvSpPr>
        <p:spPr>
          <a:xfrm>
            <a:off x="263499" y="1016306"/>
            <a:ext cx="10917338" cy="578882"/>
          </a:xfrm>
          <a:prstGeom prst="round2Diag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ES" sz="2800" dirty="0">
                <a:solidFill>
                  <a:schemeClr val="accent1"/>
                </a:solidFill>
                <a:latin typeface="+mj-lt"/>
              </a:rPr>
              <a:t>Ejes</a:t>
            </a:r>
            <a:endParaRPr lang="es-ES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24647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0D356C98-FC74-FB9B-759F-E55395BA57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630621"/>
              </p:ext>
            </p:extLst>
          </p:nvPr>
        </p:nvGraphicFramePr>
        <p:xfrm>
          <a:off x="245870" y="1007689"/>
          <a:ext cx="11538762" cy="99662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5295">
                  <a:extLst>
                    <a:ext uri="{9D8B030D-6E8A-4147-A177-3AD203B41FA5}">
                      <a16:colId xmlns:a16="http://schemas.microsoft.com/office/drawing/2014/main" val="577837006"/>
                    </a:ext>
                  </a:extLst>
                </a:gridCol>
                <a:gridCol w="8733467">
                  <a:extLst>
                    <a:ext uri="{9D8B030D-6E8A-4147-A177-3AD203B41FA5}">
                      <a16:colId xmlns:a16="http://schemas.microsoft.com/office/drawing/2014/main" val="1017805397"/>
                    </a:ext>
                  </a:extLst>
                </a:gridCol>
              </a:tblGrid>
              <a:tr h="249156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extLst>
                  <a:ext uri="{0D108BD9-81ED-4DB2-BD59-A6C34878D82A}">
                    <a16:rowId xmlns:a16="http://schemas.microsoft.com/office/drawing/2014/main" val="2613786994"/>
                  </a:ext>
                </a:extLst>
              </a:tr>
              <a:tr h="249156">
                <a:tc rowSpan="3"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- Organización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1.- Desarrollar la estructura (RRHH) del Ente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extLst>
                  <a:ext uri="{0D108BD9-81ED-4DB2-BD59-A6C34878D82A}">
                    <a16:rowId xmlns:a16="http://schemas.microsoft.com/office/drawing/2014/main" val="2460923457"/>
                  </a:ext>
                </a:extLst>
              </a:tr>
              <a:tr h="249156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2.- Adaptar la estructura de la organización interna a la evolución de EKP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extLst>
                  <a:ext uri="{0D108BD9-81ED-4DB2-BD59-A6C34878D82A}">
                    <a16:rowId xmlns:a16="http://schemas.microsoft.com/office/drawing/2014/main" val="2035980224"/>
                  </a:ext>
                </a:extLst>
              </a:tr>
              <a:tr h="249156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.3.- Optimizar  la contratación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02" marR="4802" marT="4802" marB="0" anchor="ctr"/>
                </a:tc>
                <a:extLst>
                  <a:ext uri="{0D108BD9-81ED-4DB2-BD59-A6C34878D82A}">
                    <a16:rowId xmlns:a16="http://schemas.microsoft.com/office/drawing/2014/main" val="3742126792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5C36D154-1910-CAC9-98E6-CD1B930021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405707"/>
              </p:ext>
            </p:extLst>
          </p:nvPr>
        </p:nvGraphicFramePr>
        <p:xfrm>
          <a:off x="245870" y="2214783"/>
          <a:ext cx="11538762" cy="987020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5295">
                  <a:extLst>
                    <a:ext uri="{9D8B030D-6E8A-4147-A177-3AD203B41FA5}">
                      <a16:colId xmlns:a16="http://schemas.microsoft.com/office/drawing/2014/main" val="1137118899"/>
                    </a:ext>
                  </a:extLst>
                </a:gridCol>
                <a:gridCol w="8733467">
                  <a:extLst>
                    <a:ext uri="{9D8B030D-6E8A-4147-A177-3AD203B41FA5}">
                      <a16:colId xmlns:a16="http://schemas.microsoft.com/office/drawing/2014/main" val="1235769665"/>
                    </a:ext>
                  </a:extLst>
                </a:gridCol>
              </a:tblGrid>
              <a:tr h="246755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extLst>
                  <a:ext uri="{0D108BD9-81ED-4DB2-BD59-A6C34878D82A}">
                    <a16:rowId xmlns:a16="http://schemas.microsoft.com/office/drawing/2014/main" val="2500731021"/>
                  </a:ext>
                </a:extLst>
              </a:tr>
              <a:tr h="246755">
                <a:tc rowSpan="3"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- Nuestros puert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1.- Integración adecuada de nuevos puertos adscrit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extLst>
                  <a:ext uri="{0D108BD9-81ED-4DB2-BD59-A6C34878D82A}">
                    <a16:rowId xmlns:a16="http://schemas.microsoft.com/office/drawing/2014/main" val="4256204862"/>
                  </a:ext>
                </a:extLst>
              </a:tr>
              <a:tr h="246755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2.- Mejora continua de los puertos gestionad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extLst>
                  <a:ext uri="{0D108BD9-81ED-4DB2-BD59-A6C34878D82A}">
                    <a16:rowId xmlns:a16="http://schemas.microsoft.com/office/drawing/2014/main" val="725039447"/>
                  </a:ext>
                </a:extLst>
              </a:tr>
              <a:tr h="246755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>
                    <a:lnT w="12700" cmpd="sng">
                      <a:noFill/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3.- Vigilancia de tendencias (EKP del futuro): movilidad eléctrica, tamaño de embarcaciones, lista sext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94" marR="2994" marT="2994" marB="0" anchor="ctr"/>
                </a:tc>
                <a:extLst>
                  <a:ext uri="{0D108BD9-81ED-4DB2-BD59-A6C34878D82A}">
                    <a16:rowId xmlns:a16="http://schemas.microsoft.com/office/drawing/2014/main" val="3995856168"/>
                  </a:ext>
                </a:extLst>
              </a:tr>
            </a:tbl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E13F71F9-514D-2EB6-8582-1102D8BA4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339045"/>
              </p:ext>
            </p:extLst>
          </p:nvPr>
        </p:nvGraphicFramePr>
        <p:xfrm>
          <a:off x="235768" y="3412273"/>
          <a:ext cx="11551433" cy="100484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17967">
                  <a:extLst>
                    <a:ext uri="{9D8B030D-6E8A-4147-A177-3AD203B41FA5}">
                      <a16:colId xmlns:a16="http://schemas.microsoft.com/office/drawing/2014/main" val="3806179207"/>
                    </a:ext>
                  </a:extLst>
                </a:gridCol>
                <a:gridCol w="8733466">
                  <a:extLst>
                    <a:ext uri="{9D8B030D-6E8A-4147-A177-3AD203B41FA5}">
                      <a16:colId xmlns:a16="http://schemas.microsoft.com/office/drawing/2014/main" val="1003714050"/>
                    </a:ext>
                  </a:extLst>
                </a:gridCol>
              </a:tblGrid>
              <a:tr h="2512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70692307"/>
                  </a:ext>
                </a:extLst>
              </a:tr>
              <a:tr h="251211">
                <a:tc rowSpan="3"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-  Regularización normativ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1.- Completar el desarrollo reglamentario derivado de la Ley de Puert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995234402"/>
                  </a:ext>
                </a:extLst>
              </a:tr>
              <a:tr h="251211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2.- Revisión continua de la normativ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262865977"/>
                  </a:ext>
                </a:extLst>
              </a:tr>
              <a:tr h="251211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3.-Cumplimiento normativo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415276711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B0A36314-0082-94FE-2352-BE437ADD6B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408102"/>
              </p:ext>
            </p:extLst>
          </p:nvPr>
        </p:nvGraphicFramePr>
        <p:xfrm>
          <a:off x="235768" y="4627587"/>
          <a:ext cx="11551434" cy="502422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17967">
                  <a:extLst>
                    <a:ext uri="{9D8B030D-6E8A-4147-A177-3AD203B41FA5}">
                      <a16:colId xmlns:a16="http://schemas.microsoft.com/office/drawing/2014/main" val="1394039860"/>
                    </a:ext>
                  </a:extLst>
                </a:gridCol>
                <a:gridCol w="8733467">
                  <a:extLst>
                    <a:ext uri="{9D8B030D-6E8A-4147-A177-3AD203B41FA5}">
                      <a16:colId xmlns:a16="http://schemas.microsoft.com/office/drawing/2014/main" val="595640395"/>
                    </a:ext>
                  </a:extLst>
                </a:gridCol>
              </a:tblGrid>
              <a:tr h="2512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833778341"/>
                  </a:ext>
                </a:extLst>
              </a:tr>
              <a:tr h="251211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- Modernización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1.- Modernización de la gestión y servicios portuari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23612376"/>
                  </a:ext>
                </a:extLst>
              </a:tr>
            </a:tbl>
          </a:graphicData>
        </a:graphic>
      </p:graphicFrame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B686113B-890E-39ED-EEA4-DBC9CA3651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363884"/>
              </p:ext>
            </p:extLst>
          </p:nvPr>
        </p:nvGraphicFramePr>
        <p:xfrm>
          <a:off x="235768" y="5340480"/>
          <a:ext cx="11551434" cy="100484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765037">
                  <a:extLst>
                    <a:ext uri="{9D8B030D-6E8A-4147-A177-3AD203B41FA5}">
                      <a16:colId xmlns:a16="http://schemas.microsoft.com/office/drawing/2014/main" val="4270473267"/>
                    </a:ext>
                  </a:extLst>
                </a:gridCol>
                <a:gridCol w="8786397">
                  <a:extLst>
                    <a:ext uri="{9D8B030D-6E8A-4147-A177-3AD203B41FA5}">
                      <a16:colId xmlns:a16="http://schemas.microsoft.com/office/drawing/2014/main" val="252180640"/>
                    </a:ext>
                  </a:extLst>
                </a:gridCol>
              </a:tblGrid>
              <a:tr h="251211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550379844"/>
                  </a:ext>
                </a:extLst>
              </a:tr>
              <a:tr h="251211">
                <a:tc rowSpan="3"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- Comunicación e imagen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1.- Adaptar la interacción con la ciudadanía a nuestra forma jurídic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3909521"/>
                  </a:ext>
                </a:extLst>
              </a:tr>
              <a:tr h="251211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2.- Mantener la comunicación con nuestros grupos de interé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10890504"/>
                  </a:ext>
                </a:extLst>
              </a:tr>
              <a:tr h="251211">
                <a:tc vMerge="1">
                  <a:txBody>
                    <a:bodyPr/>
                    <a:lstStyle/>
                    <a:p>
                      <a:endParaRPr lang="eu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.3.- Dar a conocer nuestros puertos y nuestra organización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4770606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97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EEFDB1-B652-4E1A-9D95-30D6A3D186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15007" y="6633396"/>
            <a:ext cx="1440492" cy="360000"/>
          </a:xfrm>
        </p:spPr>
        <p:txBody>
          <a:bodyPr/>
          <a:lstStyle/>
          <a:p>
            <a:fld id="{72542EF5-889D-4CB8-B44A-25ED68F09654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4" name="Título 2">
            <a:extLst>
              <a:ext uri="{FF2B5EF4-FFF2-40B4-BE49-F238E27FC236}">
                <a16:creationId xmlns:a16="http://schemas.microsoft.com/office/drawing/2014/main" id="{94FC6501-AFE4-4AA8-8B64-C7E14EACEE47}"/>
              </a:ext>
            </a:extLst>
          </p:cNvPr>
          <p:cNvSpPr txBox="1">
            <a:spLocks/>
          </p:cNvSpPr>
          <p:nvPr/>
        </p:nvSpPr>
        <p:spPr>
          <a:xfrm>
            <a:off x="235768" y="152636"/>
            <a:ext cx="10972800" cy="64336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defTabSz="914400">
              <a:lnSpc>
                <a:spcPts val="3340"/>
              </a:lnSpc>
              <a:spcBef>
                <a:spcPts val="2400"/>
              </a:spcBef>
              <a:buClr>
                <a:srgbClr val="0059A7"/>
              </a:buClr>
              <a:buSzPct val="110000"/>
              <a:buNone/>
              <a:defRPr sz="2000" b="1" spc="-70" baseline="0">
                <a:solidFill>
                  <a:prstClr val="white"/>
                </a:solidFill>
                <a:latin typeface="+mj-lt"/>
              </a:defRPr>
            </a:lvl1pPr>
          </a:lstStyle>
          <a:p>
            <a:pPr>
              <a:spcBef>
                <a:spcPts val="2400"/>
              </a:spcBef>
            </a:pPr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LAN ESTRATÉGICO DE EKP 2021-2024  </a:t>
            </a:r>
          </a:p>
        </p:txBody>
      </p:sp>
      <p:graphicFrame>
        <p:nvGraphicFramePr>
          <p:cNvPr id="16" name="Tabla 15">
            <a:extLst>
              <a:ext uri="{FF2B5EF4-FFF2-40B4-BE49-F238E27FC236}">
                <a16:creationId xmlns:a16="http://schemas.microsoft.com/office/drawing/2014/main" id="{5E4FDE5E-77AE-7777-457D-A8C478CC96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3448034"/>
              </p:ext>
            </p:extLst>
          </p:nvPr>
        </p:nvGraphicFramePr>
        <p:xfrm>
          <a:off x="246808" y="1830965"/>
          <a:ext cx="11537584" cy="378460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4123">
                  <a:extLst>
                    <a:ext uri="{9D8B030D-6E8A-4147-A177-3AD203B41FA5}">
                      <a16:colId xmlns:a16="http://schemas.microsoft.com/office/drawing/2014/main" val="727997779"/>
                    </a:ext>
                  </a:extLst>
                </a:gridCol>
                <a:gridCol w="8733461">
                  <a:extLst>
                    <a:ext uri="{9D8B030D-6E8A-4147-A177-3AD203B41FA5}">
                      <a16:colId xmlns:a16="http://schemas.microsoft.com/office/drawing/2014/main" val="636624376"/>
                    </a:ext>
                  </a:extLst>
                </a:gridCol>
              </a:tblGrid>
              <a:tr h="40653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72349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.- Accesibilidad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.1.- Mejorar la accesibilidad de nuestros puerto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99173084"/>
                  </a:ext>
                </a:extLst>
              </a:tr>
            </a:tbl>
          </a:graphicData>
        </a:graphic>
      </p:graphicFrame>
      <p:graphicFrame>
        <p:nvGraphicFramePr>
          <p:cNvPr id="17" name="Tabla 16">
            <a:extLst>
              <a:ext uri="{FF2B5EF4-FFF2-40B4-BE49-F238E27FC236}">
                <a16:creationId xmlns:a16="http://schemas.microsoft.com/office/drawing/2014/main" id="{0821B7C6-E16A-95D4-2E6D-9C7E1ED65F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068257"/>
              </p:ext>
            </p:extLst>
          </p:nvPr>
        </p:nvGraphicFramePr>
        <p:xfrm>
          <a:off x="246007" y="2654239"/>
          <a:ext cx="11537588" cy="46703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751193">
                  <a:extLst>
                    <a:ext uri="{9D8B030D-6E8A-4147-A177-3AD203B41FA5}">
                      <a16:colId xmlns:a16="http://schemas.microsoft.com/office/drawing/2014/main" val="3431185448"/>
                    </a:ext>
                  </a:extLst>
                </a:gridCol>
                <a:gridCol w="8786395">
                  <a:extLst>
                    <a:ext uri="{9D8B030D-6E8A-4147-A177-3AD203B41FA5}">
                      <a16:colId xmlns:a16="http://schemas.microsoft.com/office/drawing/2014/main" val="3651538776"/>
                    </a:ext>
                  </a:extLst>
                </a:gridCol>
              </a:tblGrid>
              <a:tr h="154696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334971200"/>
                  </a:ext>
                </a:extLst>
              </a:tr>
              <a:tr h="277804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.- M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.1.- La mejora continua de la gestión ambiental a través de la certificación en la ISO 14001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2543162"/>
                  </a:ext>
                </a:extLst>
              </a:tr>
            </a:tbl>
          </a:graphicData>
        </a:graphic>
      </p:graphicFrame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0E02CE1F-2891-7DA9-6933-C90BD17A3C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215579"/>
              </p:ext>
            </p:extLst>
          </p:nvPr>
        </p:nvGraphicFramePr>
        <p:xfrm>
          <a:off x="246009" y="3566087"/>
          <a:ext cx="11537584" cy="467034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4123">
                  <a:extLst>
                    <a:ext uri="{9D8B030D-6E8A-4147-A177-3AD203B41FA5}">
                      <a16:colId xmlns:a16="http://schemas.microsoft.com/office/drawing/2014/main" val="1361129377"/>
                    </a:ext>
                  </a:extLst>
                </a:gridCol>
                <a:gridCol w="8733461">
                  <a:extLst>
                    <a:ext uri="{9D8B030D-6E8A-4147-A177-3AD203B41FA5}">
                      <a16:colId xmlns:a16="http://schemas.microsoft.com/office/drawing/2014/main" val="3042922904"/>
                    </a:ext>
                  </a:extLst>
                </a:gridCol>
              </a:tblGrid>
              <a:tr h="1576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57983728"/>
                  </a:ext>
                </a:extLst>
              </a:tr>
              <a:tr h="277804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.- SSL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.1.- La mejora continua de la gestión de la seguridad y salud en el trabajo a través de la certificación en la ISO 45001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265228943"/>
                  </a:ext>
                </a:extLst>
              </a:tr>
            </a:tbl>
          </a:graphicData>
        </a:graphic>
      </p:graphicFrame>
      <p:graphicFrame>
        <p:nvGraphicFramePr>
          <p:cNvPr id="19" name="Tabla 18">
            <a:extLst>
              <a:ext uri="{FF2B5EF4-FFF2-40B4-BE49-F238E27FC236}">
                <a16:creationId xmlns:a16="http://schemas.microsoft.com/office/drawing/2014/main" id="{1C2CF601-FCF4-9DD8-4ED4-1BD0EFB26B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626309"/>
              </p:ext>
            </p:extLst>
          </p:nvPr>
        </p:nvGraphicFramePr>
        <p:xfrm>
          <a:off x="245870" y="1007691"/>
          <a:ext cx="11538761" cy="378460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5297">
                  <a:extLst>
                    <a:ext uri="{9D8B030D-6E8A-4147-A177-3AD203B41FA5}">
                      <a16:colId xmlns:a16="http://schemas.microsoft.com/office/drawing/2014/main" val="1315583084"/>
                    </a:ext>
                  </a:extLst>
                </a:gridCol>
                <a:gridCol w="8733464">
                  <a:extLst>
                    <a:ext uri="{9D8B030D-6E8A-4147-A177-3AD203B41FA5}">
                      <a16:colId xmlns:a16="http://schemas.microsoft.com/office/drawing/2014/main" val="20414355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755083919"/>
                  </a:ext>
                </a:extLst>
              </a:tr>
              <a:tr h="32245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- RSC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.1.- Continuar impulsando la integración puerto-ciudad apoyando sobre todo a la actividad náutico deportiv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885606698"/>
                  </a:ext>
                </a:extLst>
              </a:tr>
            </a:tbl>
          </a:graphicData>
        </a:graphic>
      </p:graphicFrame>
      <p:graphicFrame>
        <p:nvGraphicFramePr>
          <p:cNvPr id="20" name="Tabla 19">
            <a:extLst>
              <a:ext uri="{FF2B5EF4-FFF2-40B4-BE49-F238E27FC236}">
                <a16:creationId xmlns:a16="http://schemas.microsoft.com/office/drawing/2014/main" id="{7078C53E-FF64-35AB-3AF0-DCA47B1A09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825842"/>
              </p:ext>
            </p:extLst>
          </p:nvPr>
        </p:nvGraphicFramePr>
        <p:xfrm>
          <a:off x="246944" y="4477935"/>
          <a:ext cx="11536410" cy="378460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4123">
                  <a:extLst>
                    <a:ext uri="{9D8B030D-6E8A-4147-A177-3AD203B41FA5}">
                      <a16:colId xmlns:a16="http://schemas.microsoft.com/office/drawing/2014/main" val="4151879366"/>
                    </a:ext>
                  </a:extLst>
                </a:gridCol>
                <a:gridCol w="8732287">
                  <a:extLst>
                    <a:ext uri="{9D8B030D-6E8A-4147-A177-3AD203B41FA5}">
                      <a16:colId xmlns:a16="http://schemas.microsoft.com/office/drawing/2014/main" val="106336598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650292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.- Igualdad entre mujeres y hombres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.1.- La mejora continua de la igualdad entre mujeres y hombres a través del Plan de Igualdad (Existe plan específico)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1748405"/>
                  </a:ext>
                </a:extLst>
              </a:tr>
            </a:tbl>
          </a:graphicData>
        </a:graphic>
      </p:graphicFrame>
      <p:graphicFrame>
        <p:nvGraphicFramePr>
          <p:cNvPr id="22" name="Tabla 21">
            <a:extLst>
              <a:ext uri="{FF2B5EF4-FFF2-40B4-BE49-F238E27FC236}">
                <a16:creationId xmlns:a16="http://schemas.microsoft.com/office/drawing/2014/main" id="{7A154C23-50D0-5D07-2F69-7F0F268575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970644"/>
              </p:ext>
            </p:extLst>
          </p:nvPr>
        </p:nvGraphicFramePr>
        <p:xfrm>
          <a:off x="248222" y="5301208"/>
          <a:ext cx="11536410" cy="378460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2804123">
                  <a:extLst>
                    <a:ext uri="{9D8B030D-6E8A-4147-A177-3AD203B41FA5}">
                      <a16:colId xmlns:a16="http://schemas.microsoft.com/office/drawing/2014/main" val="4151879366"/>
                    </a:ext>
                  </a:extLst>
                </a:gridCol>
                <a:gridCol w="8732287">
                  <a:extLst>
                    <a:ext uri="{9D8B030D-6E8A-4147-A177-3AD203B41FA5}">
                      <a16:colId xmlns:a16="http://schemas.microsoft.com/office/drawing/2014/main" val="106336598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Eje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es-E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Objetivo estratégico</a:t>
                      </a:r>
                      <a:endParaRPr lang="es-E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650292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1.- Euskera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s-E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1.1.- La mejora continua del uso del euskera a través del Plan de Euskera  (Existe plan específico)</a:t>
                      </a:r>
                      <a:endParaRPr lang="es-E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511748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3031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cean - 16x9">
  <a:themeElements>
    <a:clrScheme name="i9_Blue Lime Dark">
      <a:dk1>
        <a:srgbClr val="FFFFFF"/>
      </a:dk1>
      <a:lt1>
        <a:srgbClr val="2B2B2D"/>
      </a:lt1>
      <a:dk2>
        <a:srgbClr val="8DC928"/>
      </a:dk2>
      <a:lt2>
        <a:srgbClr val="ABD22A"/>
      </a:lt2>
      <a:accent1>
        <a:srgbClr val="2099D8"/>
      </a:accent1>
      <a:accent2>
        <a:srgbClr val="239CCE"/>
      </a:accent2>
      <a:accent3>
        <a:srgbClr val="27A6C2"/>
      </a:accent3>
      <a:accent4>
        <a:srgbClr val="25B7AB"/>
      </a:accent4>
      <a:accent5>
        <a:srgbClr val="5BBE77"/>
      </a:accent5>
      <a:accent6>
        <a:srgbClr val="7EC44E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i9_Blue Lime">
      <a:dk1>
        <a:srgbClr val="57565A"/>
      </a:dk1>
      <a:lt1>
        <a:sysClr val="window" lastClr="FFFFFF"/>
      </a:lt1>
      <a:dk2>
        <a:srgbClr val="8DC928"/>
      </a:dk2>
      <a:lt2>
        <a:srgbClr val="ABD22A"/>
      </a:lt2>
      <a:accent1>
        <a:srgbClr val="2099D8"/>
      </a:accent1>
      <a:accent2>
        <a:srgbClr val="239CCE"/>
      </a:accent2>
      <a:accent3>
        <a:srgbClr val="27A6C2"/>
      </a:accent3>
      <a:accent4>
        <a:srgbClr val="25B7AB"/>
      </a:accent4>
      <a:accent5>
        <a:srgbClr val="5BBE77"/>
      </a:accent5>
      <a:accent6>
        <a:srgbClr val="7EC44E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PKF">
  <a:themeElements>
    <a:clrScheme name="PKF Deutschland">
      <a:dk1>
        <a:sysClr val="windowText" lastClr="000000"/>
      </a:dk1>
      <a:lt1>
        <a:sysClr val="window" lastClr="FFFFFF"/>
      </a:lt1>
      <a:dk2>
        <a:srgbClr val="0059A7"/>
      </a:dk2>
      <a:lt2>
        <a:srgbClr val="D8D8D8"/>
      </a:lt2>
      <a:accent1>
        <a:srgbClr val="0059A7"/>
      </a:accent1>
      <a:accent2>
        <a:srgbClr val="B1B1B1"/>
      </a:accent2>
      <a:accent3>
        <a:srgbClr val="339AC1"/>
      </a:accent3>
      <a:accent4>
        <a:srgbClr val="4083BD"/>
      </a:accent4>
      <a:accent5>
        <a:srgbClr val="D8D8D8"/>
      </a:accent5>
      <a:accent6>
        <a:srgbClr val="99CDE0"/>
      </a:accent6>
      <a:hlink>
        <a:srgbClr val="0059A7"/>
      </a:hlink>
      <a:folHlink>
        <a:srgbClr val="99CDE0"/>
      </a:folHlink>
    </a:clrScheme>
    <a:fontScheme name="PKF Deutsch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>
      <a:srgbClr val="4083BD"/>
    </a:custClr>
    <a:custClr>
      <a:srgbClr val="7FACD3"/>
    </a:custClr>
    <a:custClr>
      <a:srgbClr val="BFD5E9"/>
    </a:custClr>
    <a:custClr>
      <a:srgbClr val="404040"/>
    </a:custClr>
    <a:custClr>
      <a:srgbClr val="7F7F7F"/>
    </a:custClr>
    <a:custClr>
      <a:srgbClr val="BFBFBF"/>
    </a:custClr>
    <a:custClr>
      <a:srgbClr val="C5C5C5"/>
    </a:custClr>
    <a:custClr>
      <a:srgbClr val="D8D8D8"/>
    </a:custClr>
    <a:custClr>
      <a:srgbClr val="EBEBEB"/>
    </a:custClr>
    <a:custClr>
      <a:srgbClr val="66B3D1"/>
    </a:custClr>
    <a:custClr>
      <a:srgbClr val="99CCE0"/>
    </a:custClr>
    <a:custClr>
      <a:srgbClr val="CCE6EF"/>
    </a:custClr>
    <a:custClr>
      <a:srgbClr val="C9D317"/>
    </a:custClr>
    <a:custClr>
      <a:srgbClr val="E9CB32"/>
    </a:custClr>
    <a:custClr>
      <a:srgbClr val="D89523"/>
    </a:custClr>
    <a:custClr>
      <a:srgbClr val="C02A26"/>
    </a:custClr>
  </a:custClrLst>
  <a:extLst>
    <a:ext uri="{05A4C25C-085E-4340-85A3-A5531E510DB2}">
      <thm15:themeFamily xmlns:thm15="http://schemas.microsoft.com/office/thememl/2012/main" name="PKF" id="{66E733F9-E962-4691-98AB-F4833BA4B99B}" vid="{6C8A5803-88CA-49D3-AA39-602EBBB524BD}"/>
    </a:ext>
  </a:extLst>
</a:theme>
</file>

<file path=ppt/theme/theme4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PKF">
  <a:themeElements>
    <a:clrScheme name="PKF Deutschland">
      <a:dk1>
        <a:sysClr val="windowText" lastClr="000000"/>
      </a:dk1>
      <a:lt1>
        <a:sysClr val="window" lastClr="FFFFFF"/>
      </a:lt1>
      <a:dk2>
        <a:srgbClr val="0059A7"/>
      </a:dk2>
      <a:lt2>
        <a:srgbClr val="D8D8D8"/>
      </a:lt2>
      <a:accent1>
        <a:srgbClr val="0059A7"/>
      </a:accent1>
      <a:accent2>
        <a:srgbClr val="B1B1B1"/>
      </a:accent2>
      <a:accent3>
        <a:srgbClr val="339AC1"/>
      </a:accent3>
      <a:accent4>
        <a:srgbClr val="4083BD"/>
      </a:accent4>
      <a:accent5>
        <a:srgbClr val="D8D8D8"/>
      </a:accent5>
      <a:accent6>
        <a:srgbClr val="99CDE0"/>
      </a:accent6>
      <a:hlink>
        <a:srgbClr val="0059A7"/>
      </a:hlink>
      <a:folHlink>
        <a:srgbClr val="99CDE0"/>
      </a:folHlink>
    </a:clrScheme>
    <a:fontScheme name="PKF Deutsch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>
      <a:srgbClr val="4083BD"/>
    </a:custClr>
    <a:custClr>
      <a:srgbClr val="7FACD3"/>
    </a:custClr>
    <a:custClr>
      <a:srgbClr val="BFD5E9"/>
    </a:custClr>
    <a:custClr>
      <a:srgbClr val="404040"/>
    </a:custClr>
    <a:custClr>
      <a:srgbClr val="7F7F7F"/>
    </a:custClr>
    <a:custClr>
      <a:srgbClr val="BFBFBF"/>
    </a:custClr>
    <a:custClr>
      <a:srgbClr val="C5C5C5"/>
    </a:custClr>
    <a:custClr>
      <a:srgbClr val="D8D8D8"/>
    </a:custClr>
    <a:custClr>
      <a:srgbClr val="EBEBEB"/>
    </a:custClr>
    <a:custClr>
      <a:srgbClr val="66B3D1"/>
    </a:custClr>
    <a:custClr>
      <a:srgbClr val="99CCE0"/>
    </a:custClr>
    <a:custClr>
      <a:srgbClr val="CCE6EF"/>
    </a:custClr>
    <a:custClr>
      <a:srgbClr val="C9D317"/>
    </a:custClr>
    <a:custClr>
      <a:srgbClr val="E9CB32"/>
    </a:custClr>
    <a:custClr>
      <a:srgbClr val="D89523"/>
    </a:custClr>
    <a:custClr>
      <a:srgbClr val="C02A26"/>
    </a:custClr>
  </a:custClrLst>
  <a:extLst>
    <a:ext uri="{05A4C25C-085E-4340-85A3-A5531E510DB2}">
      <thm15:themeFamily xmlns:thm15="http://schemas.microsoft.com/office/thememl/2012/main" name="PKF" id="{66E733F9-E962-4691-98AB-F4833BA4B99B}" vid="{6C8A5803-88CA-49D3-AA39-602EBBB524BD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898911CD80F841988915290D255B29" ma:contentTypeVersion="16" ma:contentTypeDescription="Create a new document." ma:contentTypeScope="" ma:versionID="1df5b769901600c6d7099a4390e46310">
  <xsd:schema xmlns:xsd="http://www.w3.org/2001/XMLSchema" xmlns:xs="http://www.w3.org/2001/XMLSchema" xmlns:p="http://schemas.microsoft.com/office/2006/metadata/properties" xmlns:ns2="2d3b4229-5d45-45d1-8107-66ad60cc90cb" xmlns:ns3="06371eb8-57d1-4fa1-b644-0b64b7ed5934" targetNamespace="http://schemas.microsoft.com/office/2006/metadata/properties" ma:root="true" ma:fieldsID="4aad72d376a7e72ce461676f7f8ccd98" ns2:_="" ns3:_="">
    <xsd:import namespace="2d3b4229-5d45-45d1-8107-66ad60cc90cb"/>
    <xsd:import namespace="06371eb8-57d1-4fa1-b644-0b64b7ed59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b4229-5d45-45d1-8107-66ad60cc90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5ca5340-5308-47c7-8501-aedea287f4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71eb8-57d1-4fa1-b644-0b64b7ed5934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e88b4f7-2886-4b0b-84e2-e29b279a07b8}" ma:internalName="TaxCatchAll" ma:showField="CatchAllData" ma:web="06371eb8-57d1-4fa1-b644-0b64b7ed59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6371eb8-57d1-4fa1-b644-0b64b7ed5934">
      <UserInfo>
        <DisplayName>Isabel Oleaga</DisplayName>
        <AccountId>39</AccountId>
        <AccountType/>
      </UserInfo>
      <UserInfo>
        <DisplayName>Gustavo Bosquet</DisplayName>
        <AccountId>243</AccountId>
        <AccountType/>
      </UserInfo>
      <UserInfo>
        <DisplayName>Unai Luengo</DisplayName>
        <AccountId>291</AccountId>
        <AccountType/>
      </UserInfo>
    </SharedWithUsers>
    <TaxCatchAll xmlns="06371eb8-57d1-4fa1-b644-0b64b7ed5934" xsi:nil="true"/>
    <lcf76f155ced4ddcb4097134ff3c332f xmlns="2d3b4229-5d45-45d1-8107-66ad60cc90c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310241-809B-42B3-9126-63A1507D51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3b4229-5d45-45d1-8107-66ad60cc90cb"/>
    <ds:schemaRef ds:uri="06371eb8-57d1-4fa1-b644-0b64b7ed59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0831D7-3996-4EE2-B752-DC4B2C694908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2d3b4229-5d45-45d1-8107-66ad60cc90cb"/>
    <ds:schemaRef ds:uri="http://schemas.openxmlformats.org/package/2006/metadata/core-properties"/>
    <ds:schemaRef ds:uri="http://www.w3.org/XML/1998/namespace"/>
    <ds:schemaRef ds:uri="06371eb8-57d1-4fa1-b644-0b64b7ed5934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AC2CC8D-D030-4CF6-93D8-41B2E31811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904</TotalTime>
  <Words>622</Words>
  <Application>Microsoft Office PowerPoint</Application>
  <PresentationFormat>Panorámica</PresentationFormat>
  <Paragraphs>94</Paragraphs>
  <Slides>7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21" baseType="lpstr">
      <vt:lpstr>Arial</vt:lpstr>
      <vt:lpstr>Calibri</vt:lpstr>
      <vt:lpstr>Open Sans</vt:lpstr>
      <vt:lpstr>Open Sans Light</vt:lpstr>
      <vt:lpstr>Symbol</vt:lpstr>
      <vt:lpstr>Verdana</vt:lpstr>
      <vt:lpstr>Wingdings</vt:lpstr>
      <vt:lpstr>Ocean - 16x9</vt:lpstr>
      <vt:lpstr>2_Office Theme</vt:lpstr>
      <vt:lpstr>PKF</vt:lpstr>
      <vt:lpstr>Benutzerdefiniertes Design</vt:lpstr>
      <vt:lpstr>1_Benutzerdefiniertes Design</vt:lpstr>
      <vt:lpstr>1_PKF</vt:lpstr>
      <vt:lpstr>think-cell Foli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youexec.com) Pitch Deck</dc:title>
  <dc:creator>You Exec (youexec.com)</dc:creator>
  <cp:lastModifiedBy>edurne@ekpsa.eus</cp:lastModifiedBy>
  <cp:revision>1994</cp:revision>
  <cp:lastPrinted>2021-02-22T11:16:22Z</cp:lastPrinted>
  <dcterms:created xsi:type="dcterms:W3CDTF">2014-10-08T23:03:32Z</dcterms:created>
  <dcterms:modified xsi:type="dcterms:W3CDTF">2023-06-07T07:0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898911CD80F841988915290D255B29</vt:lpwstr>
  </property>
  <property fmtid="{D5CDD505-2E9C-101B-9397-08002B2CF9AE}" pid="3" name="Order">
    <vt:r8>111200</vt:r8>
  </property>
  <property fmtid="{D5CDD505-2E9C-101B-9397-08002B2CF9AE}" pid="4" name="MediaServiceImageTags">
    <vt:lpwstr/>
  </property>
</Properties>
</file>